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8" r:id="rId5"/>
    <p:sldMasterId id="2147483950" r:id="rId6"/>
    <p:sldMasterId id="2147483957" r:id="rId7"/>
    <p:sldMasterId id="2147483970" r:id="rId8"/>
  </p:sldMasterIdLst>
  <p:notesMasterIdLst>
    <p:notesMasterId r:id="rId22"/>
  </p:notesMasterIdLst>
  <p:handoutMasterIdLst>
    <p:handoutMasterId r:id="rId23"/>
  </p:handoutMasterIdLst>
  <p:sldIdLst>
    <p:sldId id="256" r:id="rId9"/>
    <p:sldId id="257" r:id="rId10"/>
    <p:sldId id="2817" r:id="rId11"/>
    <p:sldId id="2816" r:id="rId12"/>
    <p:sldId id="325" r:id="rId13"/>
    <p:sldId id="2811" r:id="rId14"/>
    <p:sldId id="4414" r:id="rId15"/>
    <p:sldId id="2147375996" r:id="rId16"/>
    <p:sldId id="420" r:id="rId17"/>
    <p:sldId id="328" r:id="rId18"/>
    <p:sldId id="382" r:id="rId19"/>
    <p:sldId id="4427" r:id="rId20"/>
    <p:sldId id="2147375997" r:id="rId21"/>
  </p:sldIdLst>
  <p:sldSz cx="12225338" cy="6858000"/>
  <p:notesSz cx="7023100" cy="93091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61063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1221273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83190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244254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3053182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3663818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4274454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4885091" algn="l" defTabSz="1221273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2">
          <p15:clr>
            <a:srgbClr val="A4A3A4"/>
          </p15:clr>
        </p15:guide>
        <p15:guide id="2" pos="2212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D01B1B-5F85-BEE1-FE77-EF26A54B5A9B}" name="Francesca Cipollini" initials="FC" userId="S::Francesca.Cipollini@esa.int::3a2fe086-0008-4fe9-93d9-1dcf5e970f1b" providerId="AD"/>
  <p188:author id="{C5F2AD39-3B89-8583-1535-275A438065D4}" name="Damiano Guerrucci" initials="DG" userId="S::Damiano.Guerrucci@esa.int::45e1f4a0-70d7-416d-bde6-d721a2afaa75" providerId="AD"/>
  <p188:author id="{EA711AEB-3F86-BF05-A7CA-C84BC86CACCC}" name="Massimo Romanazzo" initials="MR" userId="S::Massimo.Romanazzo@esa.int::c8efb606-e484-4768-8d00-69e3014f2fe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bw" scaleToFitPaper="1"/>
  <p:clrMru>
    <a:srgbClr val="8197A6"/>
    <a:srgbClr val="F1666A"/>
    <a:srgbClr val="D9D9D9"/>
    <a:srgbClr val="053249"/>
    <a:srgbClr val="003249"/>
    <a:srgbClr val="335E6F"/>
    <a:srgbClr val="006196"/>
    <a:srgbClr val="6DCFF6"/>
    <a:srgbClr val="FFCC4E"/>
    <a:srgbClr val="76C8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0A7A45-6120-46B0-B7E7-FE383C5D328F}" v="64" dt="2023-10-25T07:20:49.0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2160"/>
        <p:guide pos="3851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7.xml"/><Relationship Id="rId23" Type="http://schemas.openxmlformats.org/officeDocument/2006/relationships/handoutMaster" Target="handoutMasters/handout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miano Guerrucci" userId="45e1f4a0-70d7-416d-bde6-d721a2afaa75" providerId="ADAL" clId="{F4421C71-82DA-4A0E-B167-2113794792C1}"/>
    <pc:docChg chg="undo redo custSel addSld delSld modSld sldOrd">
      <pc:chgData name="Damiano Guerrucci" userId="45e1f4a0-70d7-416d-bde6-d721a2afaa75" providerId="ADAL" clId="{F4421C71-82DA-4A0E-B167-2113794792C1}" dt="2023-10-25T07:04:05.578" v="592" actId="20577"/>
      <pc:docMkLst>
        <pc:docMk/>
      </pc:docMkLst>
      <pc:sldChg chg="modSp modAnim">
        <pc:chgData name="Damiano Guerrucci" userId="45e1f4a0-70d7-416d-bde6-d721a2afaa75" providerId="ADAL" clId="{F4421C71-82DA-4A0E-B167-2113794792C1}" dt="2023-10-25T07:04:05.578" v="592" actId="20577"/>
        <pc:sldMkLst>
          <pc:docMk/>
          <pc:sldMk cId="0" sldId="256"/>
        </pc:sldMkLst>
        <pc:spChg chg="mod">
          <ac:chgData name="Damiano Guerrucci" userId="45e1f4a0-70d7-416d-bde6-d721a2afaa75" providerId="ADAL" clId="{F4421C71-82DA-4A0E-B167-2113794792C1}" dt="2023-10-25T07:02:59.209" v="570" actId="20577"/>
          <ac:spMkLst>
            <pc:docMk/>
            <pc:sldMk cId="0" sldId="256"/>
            <ac:spMk id="4" creationId="{00000000-0000-0000-0000-000000000000}"/>
          </ac:spMkLst>
        </pc:spChg>
        <pc:spChg chg="mod">
          <ac:chgData name="Damiano Guerrucci" userId="45e1f4a0-70d7-416d-bde6-d721a2afaa75" providerId="ADAL" clId="{F4421C71-82DA-4A0E-B167-2113794792C1}" dt="2023-10-25T07:03:37.616" v="578" actId="20577"/>
          <ac:spMkLst>
            <pc:docMk/>
            <pc:sldMk cId="0" sldId="256"/>
            <ac:spMk id="7" creationId="{00000000-0000-0000-0000-000000000000}"/>
          </ac:spMkLst>
        </pc:spChg>
        <pc:spChg chg="mod">
          <ac:chgData name="Damiano Guerrucci" userId="45e1f4a0-70d7-416d-bde6-d721a2afaa75" providerId="ADAL" clId="{F4421C71-82DA-4A0E-B167-2113794792C1}" dt="2023-10-25T07:04:05.578" v="592" actId="20577"/>
          <ac:spMkLst>
            <pc:docMk/>
            <pc:sldMk cId="0" sldId="256"/>
            <ac:spMk id="8" creationId="{00000000-0000-0000-0000-000000000000}"/>
          </ac:spMkLst>
        </pc:spChg>
      </pc:sldChg>
      <pc:sldChg chg="modSp mod modClrScheme chgLayout">
        <pc:chgData name="Damiano Guerrucci" userId="45e1f4a0-70d7-416d-bde6-d721a2afaa75" providerId="ADAL" clId="{F4421C71-82DA-4A0E-B167-2113794792C1}" dt="2023-10-11T10:43:00.424" v="34" actId="207"/>
        <pc:sldMkLst>
          <pc:docMk/>
          <pc:sldMk cId="262181023" sldId="257"/>
        </pc:sldMkLst>
        <pc:spChg chg="mod ord">
          <ac:chgData name="Damiano Guerrucci" userId="45e1f4a0-70d7-416d-bde6-d721a2afaa75" providerId="ADAL" clId="{F4421C71-82DA-4A0E-B167-2113794792C1}" dt="2023-10-11T10:42:45.525" v="33" actId="26606"/>
          <ac:spMkLst>
            <pc:docMk/>
            <pc:sldMk cId="262181023" sldId="257"/>
            <ac:spMk id="2" creationId="{2A7B71DC-28BD-4E2F-9E89-C4253A80D80A}"/>
          </ac:spMkLst>
        </pc:spChg>
        <pc:graphicFrameChg chg="mod ord modGraphic">
          <ac:chgData name="Damiano Guerrucci" userId="45e1f4a0-70d7-416d-bde6-d721a2afaa75" providerId="ADAL" clId="{F4421C71-82DA-4A0E-B167-2113794792C1}" dt="2023-10-11T10:43:00.424" v="34" actId="207"/>
          <ac:graphicFrameMkLst>
            <pc:docMk/>
            <pc:sldMk cId="262181023" sldId="257"/>
            <ac:graphicFrameMk id="8" creationId="{C7B63838-FE22-185E-DBB0-435D79B59568}"/>
          </ac:graphicFrameMkLst>
        </pc:graphicFrameChg>
      </pc:sldChg>
      <pc:sldChg chg="modSp del mod ord">
        <pc:chgData name="Damiano Guerrucci" userId="45e1f4a0-70d7-416d-bde6-d721a2afaa75" providerId="ADAL" clId="{F4421C71-82DA-4A0E-B167-2113794792C1}" dt="2023-10-17T12:05:28.070" v="100" actId="47"/>
        <pc:sldMkLst>
          <pc:docMk/>
          <pc:sldMk cId="1154138892" sldId="258"/>
        </pc:sldMkLst>
        <pc:spChg chg="mod">
          <ac:chgData name="Damiano Guerrucci" userId="45e1f4a0-70d7-416d-bde6-d721a2afaa75" providerId="ADAL" clId="{F4421C71-82DA-4A0E-B167-2113794792C1}" dt="2023-10-11T10:43:17.195" v="71" actId="20577"/>
          <ac:spMkLst>
            <pc:docMk/>
            <pc:sldMk cId="1154138892" sldId="258"/>
            <ac:spMk id="3" creationId="{2C3F6102-0BD5-0084-EF4F-08AE104B4FAA}"/>
          </ac:spMkLst>
        </pc:spChg>
      </pc:sldChg>
      <pc:sldChg chg="del">
        <pc:chgData name="Damiano Guerrucci" userId="45e1f4a0-70d7-416d-bde6-d721a2afaa75" providerId="ADAL" clId="{F4421C71-82DA-4A0E-B167-2113794792C1}" dt="2023-10-11T10:38:50.783" v="2" actId="47"/>
        <pc:sldMkLst>
          <pc:docMk/>
          <pc:sldMk cId="1044745525" sldId="267"/>
        </pc:sldMkLst>
      </pc:sldChg>
      <pc:sldChg chg="modSp mod ord modClrScheme chgLayout">
        <pc:chgData name="Damiano Guerrucci" userId="45e1f4a0-70d7-416d-bde6-d721a2afaa75" providerId="ADAL" clId="{F4421C71-82DA-4A0E-B167-2113794792C1}" dt="2023-10-17T12:21:56.950" v="343" actId="700"/>
        <pc:sldMkLst>
          <pc:docMk/>
          <pc:sldMk cId="2268196600" sldId="325"/>
        </pc:sldMkLst>
        <pc:spChg chg="mod ord">
          <ac:chgData name="Damiano Guerrucci" userId="45e1f4a0-70d7-416d-bde6-d721a2afaa75" providerId="ADAL" clId="{F4421C71-82DA-4A0E-B167-2113794792C1}" dt="2023-10-17T12:21:56.950" v="343" actId="700"/>
          <ac:spMkLst>
            <pc:docMk/>
            <pc:sldMk cId="2268196600" sldId="325"/>
            <ac:spMk id="2" creationId="{00000000-0000-0000-0000-000000000000}"/>
          </ac:spMkLst>
        </pc:spChg>
        <pc:spChg chg="mod ord">
          <ac:chgData name="Damiano Guerrucci" userId="45e1f4a0-70d7-416d-bde6-d721a2afaa75" providerId="ADAL" clId="{F4421C71-82DA-4A0E-B167-2113794792C1}" dt="2023-10-17T12:21:56.950" v="343" actId="700"/>
          <ac:spMkLst>
            <pc:docMk/>
            <pc:sldMk cId="2268196600" sldId="325"/>
            <ac:spMk id="3" creationId="{00000000-0000-0000-0000-000000000000}"/>
          </ac:spMkLst>
        </pc:spChg>
      </pc:sldChg>
      <pc:sldChg chg="modSp mod modClrScheme chgLayout">
        <pc:chgData name="Damiano Guerrucci" userId="45e1f4a0-70d7-416d-bde6-d721a2afaa75" providerId="ADAL" clId="{F4421C71-82DA-4A0E-B167-2113794792C1}" dt="2023-10-17T14:02:41.302" v="484"/>
        <pc:sldMkLst>
          <pc:docMk/>
          <pc:sldMk cId="379698617" sldId="328"/>
        </pc:sldMkLst>
        <pc:spChg chg="mod ord">
          <ac:chgData name="Damiano Guerrucci" userId="45e1f4a0-70d7-416d-bde6-d721a2afaa75" providerId="ADAL" clId="{F4421C71-82DA-4A0E-B167-2113794792C1}" dt="2023-10-17T13:57:45.586" v="471" actId="700"/>
          <ac:spMkLst>
            <pc:docMk/>
            <pc:sldMk cId="379698617" sldId="328"/>
            <ac:spMk id="2" creationId="{878B7519-956E-9FB5-C1F8-4AA8C6B860EC}"/>
          </ac:spMkLst>
        </pc:spChg>
        <pc:spChg chg="mod">
          <ac:chgData name="Damiano Guerrucci" userId="45e1f4a0-70d7-416d-bde6-d721a2afaa75" providerId="ADAL" clId="{F4421C71-82DA-4A0E-B167-2113794792C1}" dt="2023-10-17T14:02:09.568" v="483" actId="207"/>
          <ac:spMkLst>
            <pc:docMk/>
            <pc:sldMk cId="379698617" sldId="328"/>
            <ac:spMk id="4" creationId="{49090C7E-AF99-A023-3AD9-C11761D2B46E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35" creationId="{40E69F7C-97C8-7315-F854-ED874718FBFE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36" creationId="{6F830839-6E34-4CED-7CD3-A80A105A29DA}"/>
          </ac:spMkLst>
        </pc:spChg>
        <pc:spChg chg="mod">
          <ac:chgData name="Damiano Guerrucci" userId="45e1f4a0-70d7-416d-bde6-d721a2afaa75" providerId="ADAL" clId="{F4421C71-82DA-4A0E-B167-2113794792C1}" dt="2023-10-17T14:01:45.211" v="478" actId="207"/>
          <ac:spMkLst>
            <pc:docMk/>
            <pc:sldMk cId="379698617" sldId="328"/>
            <ac:spMk id="62" creationId="{D0FA2C12-6805-7ABE-876E-AD4D0EEFEAB0}"/>
          </ac:spMkLst>
        </pc:spChg>
        <pc:spChg chg="mod">
          <ac:chgData name="Damiano Guerrucci" userId="45e1f4a0-70d7-416d-bde6-d721a2afaa75" providerId="ADAL" clId="{F4421C71-82DA-4A0E-B167-2113794792C1}" dt="2023-10-17T14:01:52.439" v="479" actId="207"/>
          <ac:spMkLst>
            <pc:docMk/>
            <pc:sldMk cId="379698617" sldId="328"/>
            <ac:spMk id="68" creationId="{0C720EC3-1007-C5EB-E3FB-10729F689B4C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69" creationId="{5F55B603-F1FF-B437-D69A-DFFB3979C0FE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70" creationId="{4EB59A02-33AA-2995-F462-CB0B4310A847}"/>
          </ac:spMkLst>
        </pc:spChg>
        <pc:spChg chg="mod">
          <ac:chgData name="Damiano Guerrucci" userId="45e1f4a0-70d7-416d-bde6-d721a2afaa75" providerId="ADAL" clId="{F4421C71-82DA-4A0E-B167-2113794792C1}" dt="2023-10-17T14:01:56.688" v="480" actId="207"/>
          <ac:spMkLst>
            <pc:docMk/>
            <pc:sldMk cId="379698617" sldId="328"/>
            <ac:spMk id="73" creationId="{DAD1FF5E-DDFE-34B0-43A5-E98603CAE710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74" creationId="{BC2C04D1-8CE7-4699-6682-F941A29878FD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75" creationId="{6038F8FB-4408-5C54-C908-D39162359C54}"/>
          </ac:spMkLst>
        </pc:spChg>
        <pc:spChg chg="mod">
          <ac:chgData name="Damiano Guerrucci" userId="45e1f4a0-70d7-416d-bde6-d721a2afaa75" providerId="ADAL" clId="{F4421C71-82DA-4A0E-B167-2113794792C1}" dt="2023-10-17T14:02:00.549" v="481" actId="207"/>
          <ac:spMkLst>
            <pc:docMk/>
            <pc:sldMk cId="379698617" sldId="328"/>
            <ac:spMk id="78" creationId="{EE7DAA62-9F3A-318D-152C-5CFE6DD32675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79" creationId="{393309AB-272A-CE1B-3FC7-7F4EBF4F39D3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80" creationId="{D2D15C94-1C4A-F93C-2E3E-12EB5D940E51}"/>
          </ac:spMkLst>
        </pc:spChg>
        <pc:spChg chg="mod">
          <ac:chgData name="Damiano Guerrucci" userId="45e1f4a0-70d7-416d-bde6-d721a2afaa75" providerId="ADAL" clId="{F4421C71-82DA-4A0E-B167-2113794792C1}" dt="2023-10-17T14:02:05.100" v="482" actId="207"/>
          <ac:spMkLst>
            <pc:docMk/>
            <pc:sldMk cId="379698617" sldId="328"/>
            <ac:spMk id="83" creationId="{4E331623-C2AF-A50D-7320-5CED8062D1AB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84" creationId="{D38F5A6F-77AF-E076-969D-DBE3F30F76E8}"/>
          </ac:spMkLst>
        </pc:spChg>
        <pc:spChg chg="mod">
          <ac:chgData name="Damiano Guerrucci" userId="45e1f4a0-70d7-416d-bde6-d721a2afaa75" providerId="ADAL" clId="{F4421C71-82DA-4A0E-B167-2113794792C1}" dt="2023-10-17T13:59:46.202" v="472" actId="207"/>
          <ac:spMkLst>
            <pc:docMk/>
            <pc:sldMk cId="379698617" sldId="328"/>
            <ac:spMk id="85" creationId="{1D027C25-E6D8-5A47-93D1-5F2AE82A6C90}"/>
          </ac:spMkLst>
        </pc:spChg>
        <pc:grpChg chg="mod">
          <ac:chgData name="Damiano Guerrucci" userId="45e1f4a0-70d7-416d-bde6-d721a2afaa75" providerId="ADAL" clId="{F4421C71-82DA-4A0E-B167-2113794792C1}" dt="2023-10-17T13:59:46.202" v="472" actId="207"/>
          <ac:grpSpMkLst>
            <pc:docMk/>
            <pc:sldMk cId="379698617" sldId="328"/>
            <ac:grpSpMk id="34" creationId="{3F30C369-CD7A-54F9-CD7F-7D1A055519C1}"/>
          </ac:grpSpMkLst>
        </pc:grpChg>
        <pc:grpChg chg="mod">
          <ac:chgData name="Damiano Guerrucci" userId="45e1f4a0-70d7-416d-bde6-d721a2afaa75" providerId="ADAL" clId="{F4421C71-82DA-4A0E-B167-2113794792C1}" dt="2023-10-17T14:00:07.835" v="473" actId="14100"/>
          <ac:grpSpMkLst>
            <pc:docMk/>
            <pc:sldMk cId="379698617" sldId="328"/>
            <ac:grpSpMk id="65" creationId="{64DC6261-85CD-31D5-0A7C-C488DFF84598}"/>
          </ac:grpSpMkLst>
        </pc:grpChg>
        <pc:grpChg chg="mod">
          <ac:chgData name="Damiano Guerrucci" userId="45e1f4a0-70d7-416d-bde6-d721a2afaa75" providerId="ADAL" clId="{F4421C71-82DA-4A0E-B167-2113794792C1}" dt="2023-10-17T14:00:07.835" v="473" actId="14100"/>
          <ac:grpSpMkLst>
            <pc:docMk/>
            <pc:sldMk cId="379698617" sldId="328"/>
            <ac:grpSpMk id="66" creationId="{B9A2DBDD-6D97-86E0-43BB-EDAFDC80749E}"/>
          </ac:grpSpMkLst>
        </pc:grpChg>
        <pc:grpChg chg="mod">
          <ac:chgData name="Damiano Guerrucci" userId="45e1f4a0-70d7-416d-bde6-d721a2afaa75" providerId="ADAL" clId="{F4421C71-82DA-4A0E-B167-2113794792C1}" dt="2023-10-17T13:59:46.202" v="472" actId="207"/>
          <ac:grpSpMkLst>
            <pc:docMk/>
            <pc:sldMk cId="379698617" sldId="328"/>
            <ac:grpSpMk id="67" creationId="{E58294E7-0ADA-7D2F-3CE4-99592B5ACFC7}"/>
          </ac:grpSpMkLst>
        </pc:grpChg>
        <pc:grpChg chg="mod">
          <ac:chgData name="Damiano Guerrucci" userId="45e1f4a0-70d7-416d-bde6-d721a2afaa75" providerId="ADAL" clId="{F4421C71-82DA-4A0E-B167-2113794792C1}" dt="2023-10-17T14:00:07.835" v="473" actId="14100"/>
          <ac:grpSpMkLst>
            <pc:docMk/>
            <pc:sldMk cId="379698617" sldId="328"/>
            <ac:grpSpMk id="71" creationId="{EEA1C762-482A-E3AE-98B9-E3DC636BC9D0}"/>
          </ac:grpSpMkLst>
        </pc:grpChg>
        <pc:grpChg chg="mod">
          <ac:chgData name="Damiano Guerrucci" userId="45e1f4a0-70d7-416d-bde6-d721a2afaa75" providerId="ADAL" clId="{F4421C71-82DA-4A0E-B167-2113794792C1}" dt="2023-10-17T13:59:46.202" v="472" actId="207"/>
          <ac:grpSpMkLst>
            <pc:docMk/>
            <pc:sldMk cId="379698617" sldId="328"/>
            <ac:grpSpMk id="72" creationId="{1D099448-108B-B6C1-4D65-3DACE35E1683}"/>
          </ac:grpSpMkLst>
        </pc:grpChg>
        <pc:grpChg chg="mod">
          <ac:chgData name="Damiano Guerrucci" userId="45e1f4a0-70d7-416d-bde6-d721a2afaa75" providerId="ADAL" clId="{F4421C71-82DA-4A0E-B167-2113794792C1}" dt="2023-10-17T14:00:07.835" v="473" actId="14100"/>
          <ac:grpSpMkLst>
            <pc:docMk/>
            <pc:sldMk cId="379698617" sldId="328"/>
            <ac:grpSpMk id="76" creationId="{25BC29B9-126B-F5F0-91A1-BC199234142A}"/>
          </ac:grpSpMkLst>
        </pc:grpChg>
        <pc:grpChg chg="mod">
          <ac:chgData name="Damiano Guerrucci" userId="45e1f4a0-70d7-416d-bde6-d721a2afaa75" providerId="ADAL" clId="{F4421C71-82DA-4A0E-B167-2113794792C1}" dt="2023-10-17T13:59:46.202" v="472" actId="207"/>
          <ac:grpSpMkLst>
            <pc:docMk/>
            <pc:sldMk cId="379698617" sldId="328"/>
            <ac:grpSpMk id="77" creationId="{EFCFA72C-378C-B7CA-7818-F92947E94C26}"/>
          </ac:grpSpMkLst>
        </pc:grpChg>
        <pc:grpChg chg="mod">
          <ac:chgData name="Damiano Guerrucci" userId="45e1f4a0-70d7-416d-bde6-d721a2afaa75" providerId="ADAL" clId="{F4421C71-82DA-4A0E-B167-2113794792C1}" dt="2023-10-17T14:00:07.835" v="473" actId="14100"/>
          <ac:grpSpMkLst>
            <pc:docMk/>
            <pc:sldMk cId="379698617" sldId="328"/>
            <ac:grpSpMk id="81" creationId="{E1F7C8BC-2B32-24E8-82E0-D89C10AD4B77}"/>
          </ac:grpSpMkLst>
        </pc:grpChg>
        <pc:grpChg chg="mod">
          <ac:chgData name="Damiano Guerrucci" userId="45e1f4a0-70d7-416d-bde6-d721a2afaa75" providerId="ADAL" clId="{F4421C71-82DA-4A0E-B167-2113794792C1}" dt="2023-10-17T13:59:46.202" v="472" actId="207"/>
          <ac:grpSpMkLst>
            <pc:docMk/>
            <pc:sldMk cId="379698617" sldId="328"/>
            <ac:grpSpMk id="82" creationId="{E442D46B-00E2-EE76-62E9-0DC117CFBE8E}"/>
          </ac:grpSpMkLst>
        </pc:grpChg>
        <pc:graphicFrameChg chg="mod ord">
          <ac:chgData name="Damiano Guerrucci" userId="45e1f4a0-70d7-416d-bde6-d721a2afaa75" providerId="ADAL" clId="{F4421C71-82DA-4A0E-B167-2113794792C1}" dt="2023-10-17T14:02:41.302" v="484"/>
          <ac:graphicFrameMkLst>
            <pc:docMk/>
            <pc:sldMk cId="379698617" sldId="328"/>
            <ac:graphicFrameMk id="5" creationId="{AC0E6B32-FBF6-F436-C0C2-54DF73BB1F7C}"/>
          </ac:graphicFrameMkLst>
        </pc:graphicFrameChg>
      </pc:sldChg>
      <pc:sldChg chg="addSp delSp modSp mod modClrScheme chgLayout">
        <pc:chgData name="Damiano Guerrucci" userId="45e1f4a0-70d7-416d-bde6-d721a2afaa75" providerId="ADAL" clId="{F4421C71-82DA-4A0E-B167-2113794792C1}" dt="2023-10-17T14:05:29.651" v="507" actId="1036"/>
        <pc:sldMkLst>
          <pc:docMk/>
          <pc:sldMk cId="2431203396" sldId="382"/>
        </pc:sldMkLst>
        <pc:spChg chg="add del mod ord">
          <ac:chgData name="Damiano Guerrucci" userId="45e1f4a0-70d7-416d-bde6-d721a2afaa75" providerId="ADAL" clId="{F4421C71-82DA-4A0E-B167-2113794792C1}" dt="2023-10-17T14:03:59.687" v="487" actId="700"/>
          <ac:spMkLst>
            <pc:docMk/>
            <pc:sldMk cId="2431203396" sldId="382"/>
            <ac:spMk id="2" creationId="{3D9AC8C2-9E8E-3B98-6278-2ACE21D7B3F5}"/>
          </ac:spMkLst>
        </pc:spChg>
        <pc:spChg chg="add del mod ord">
          <ac:chgData name="Damiano Guerrucci" userId="45e1f4a0-70d7-416d-bde6-d721a2afaa75" providerId="ADAL" clId="{F4421C71-82DA-4A0E-B167-2113794792C1}" dt="2023-10-17T14:04:07.998" v="488" actId="700"/>
          <ac:spMkLst>
            <pc:docMk/>
            <pc:sldMk cId="2431203396" sldId="382"/>
            <ac:spMk id="3" creationId="{6A12503F-671E-5018-3129-D95586823E3F}"/>
          </ac:spMkLst>
        </pc:spChg>
        <pc:spChg chg="add del mod ord">
          <ac:chgData name="Damiano Guerrucci" userId="45e1f4a0-70d7-416d-bde6-d721a2afaa75" providerId="ADAL" clId="{F4421C71-82DA-4A0E-B167-2113794792C1}" dt="2023-10-17T14:04:16.832" v="489" actId="478"/>
          <ac:spMkLst>
            <pc:docMk/>
            <pc:sldMk cId="2431203396" sldId="382"/>
            <ac:spMk id="4" creationId="{AACD980E-6C73-2BDF-E55F-DA0B984E156E}"/>
          </ac:spMkLst>
        </pc:spChg>
        <pc:spChg chg="mod ord">
          <ac:chgData name="Damiano Guerrucci" userId="45e1f4a0-70d7-416d-bde6-d721a2afaa75" providerId="ADAL" clId="{F4421C71-82DA-4A0E-B167-2113794792C1}" dt="2023-10-17T14:04:07.998" v="488" actId="700"/>
          <ac:spMkLst>
            <pc:docMk/>
            <pc:sldMk cId="2431203396" sldId="382"/>
            <ac:spMk id="5" creationId="{8EC4692C-AB50-B44C-B151-543344503025}"/>
          </ac:spMkLst>
        </pc:spChg>
        <pc:spChg chg="mod">
          <ac:chgData name="Damiano Guerrucci" userId="45e1f4a0-70d7-416d-bde6-d721a2afaa75" providerId="ADAL" clId="{F4421C71-82DA-4A0E-B167-2113794792C1}" dt="2023-10-17T14:05:29.651" v="507" actId="1036"/>
          <ac:spMkLst>
            <pc:docMk/>
            <pc:sldMk cId="2431203396" sldId="382"/>
            <ac:spMk id="16" creationId="{00000000-0000-0000-0000-000000000000}"/>
          </ac:spMkLst>
        </pc:spChg>
        <pc:spChg chg="mod ord">
          <ac:chgData name="Damiano Guerrucci" userId="45e1f4a0-70d7-416d-bde6-d721a2afaa75" providerId="ADAL" clId="{F4421C71-82DA-4A0E-B167-2113794792C1}" dt="2023-10-17T14:04:32.002" v="497" actId="20577"/>
          <ac:spMkLst>
            <pc:docMk/>
            <pc:sldMk cId="2431203396" sldId="382"/>
            <ac:spMk id="23" creationId="{00000000-0000-0000-0000-000000000000}"/>
          </ac:spMkLst>
        </pc:spChg>
        <pc:picChg chg="del">
          <ac:chgData name="Damiano Guerrucci" userId="45e1f4a0-70d7-416d-bde6-d721a2afaa75" providerId="ADAL" clId="{F4421C71-82DA-4A0E-B167-2113794792C1}" dt="2023-10-17T14:05:13.533" v="501" actId="478"/>
          <ac:picMkLst>
            <pc:docMk/>
            <pc:sldMk cId="2431203396" sldId="382"/>
            <ac:picMk id="19" creationId="{6D6F58B2-3990-936E-F95E-89CADC08F303}"/>
          </ac:picMkLst>
        </pc:picChg>
        <pc:picChg chg="del">
          <ac:chgData name="Damiano Guerrucci" userId="45e1f4a0-70d7-416d-bde6-d721a2afaa75" providerId="ADAL" clId="{F4421C71-82DA-4A0E-B167-2113794792C1}" dt="2023-10-17T14:05:07.547" v="499" actId="478"/>
          <ac:picMkLst>
            <pc:docMk/>
            <pc:sldMk cId="2431203396" sldId="382"/>
            <ac:picMk id="20" creationId="{55828FE7-33A6-0003-9522-CE7E7951B1C9}"/>
          </ac:picMkLst>
        </pc:picChg>
        <pc:picChg chg="del">
          <ac:chgData name="Damiano Guerrucci" userId="45e1f4a0-70d7-416d-bde6-d721a2afaa75" providerId="ADAL" clId="{F4421C71-82DA-4A0E-B167-2113794792C1}" dt="2023-10-17T14:05:10.397" v="500" actId="478"/>
          <ac:picMkLst>
            <pc:docMk/>
            <pc:sldMk cId="2431203396" sldId="382"/>
            <ac:picMk id="21" creationId="{2DAD9D22-E949-BD06-74F2-78F9A774FFC4}"/>
          </ac:picMkLst>
        </pc:picChg>
        <pc:picChg chg="del">
          <ac:chgData name="Damiano Guerrucci" userId="45e1f4a0-70d7-416d-bde6-d721a2afaa75" providerId="ADAL" clId="{F4421C71-82DA-4A0E-B167-2113794792C1}" dt="2023-10-17T14:05:16.347" v="502" actId="478"/>
          <ac:picMkLst>
            <pc:docMk/>
            <pc:sldMk cId="2431203396" sldId="382"/>
            <ac:picMk id="22" creationId="{1B329105-123F-1CAD-BA80-AC25F059F74B}"/>
          </ac:picMkLst>
        </pc:picChg>
        <pc:picChg chg="del">
          <ac:chgData name="Damiano Guerrucci" userId="45e1f4a0-70d7-416d-bde6-d721a2afaa75" providerId="ADAL" clId="{F4421C71-82DA-4A0E-B167-2113794792C1}" dt="2023-10-17T14:05:04.404" v="498" actId="478"/>
          <ac:picMkLst>
            <pc:docMk/>
            <pc:sldMk cId="2431203396" sldId="382"/>
            <ac:picMk id="1028" creationId="{CC49CAC8-99D8-DC21-63FB-3D97D0B1DAB3}"/>
          </ac:picMkLst>
        </pc:picChg>
      </pc:sldChg>
      <pc:sldChg chg="del">
        <pc:chgData name="Damiano Guerrucci" userId="45e1f4a0-70d7-416d-bde6-d721a2afaa75" providerId="ADAL" clId="{F4421C71-82DA-4A0E-B167-2113794792C1}" dt="2023-10-17T14:03:36.840" v="485" actId="47"/>
        <pc:sldMkLst>
          <pc:docMk/>
          <pc:sldMk cId="783705766" sldId="383"/>
        </pc:sldMkLst>
      </pc:sldChg>
      <pc:sldChg chg="modSp mod modClrScheme chgLayout">
        <pc:chgData name="Damiano Guerrucci" userId="45e1f4a0-70d7-416d-bde6-d721a2afaa75" providerId="ADAL" clId="{F4421C71-82DA-4A0E-B167-2113794792C1}" dt="2023-10-17T13:57:07.033" v="469" actId="207"/>
        <pc:sldMkLst>
          <pc:docMk/>
          <pc:sldMk cId="1847898228" sldId="420"/>
        </pc:sldMkLst>
        <pc:spChg chg="mod ord">
          <ac:chgData name="Damiano Guerrucci" userId="45e1f4a0-70d7-416d-bde6-d721a2afaa75" providerId="ADAL" clId="{F4421C71-82DA-4A0E-B167-2113794792C1}" dt="2023-10-17T13:55:40.877" v="464" actId="700"/>
          <ac:spMkLst>
            <pc:docMk/>
            <pc:sldMk cId="1847898228" sldId="420"/>
            <ac:spMk id="2" creationId="{1F4FAF1E-D2AC-AF8C-5229-B21C4730908B}"/>
          </ac:spMkLst>
        </pc:spChg>
        <pc:spChg chg="mod">
          <ac:chgData name="Damiano Guerrucci" userId="45e1f4a0-70d7-416d-bde6-d721a2afaa75" providerId="ADAL" clId="{F4421C71-82DA-4A0E-B167-2113794792C1}" dt="2023-10-17T13:56:27.909" v="467" actId="207"/>
          <ac:spMkLst>
            <pc:docMk/>
            <pc:sldMk cId="1847898228" sldId="420"/>
            <ac:spMk id="6" creationId="{1F180E35-82A0-4013-33F5-C868D0544A3F}"/>
          </ac:spMkLst>
        </pc:spChg>
        <pc:spChg chg="mod">
          <ac:chgData name="Damiano Guerrucci" userId="45e1f4a0-70d7-416d-bde6-d721a2afaa75" providerId="ADAL" clId="{F4421C71-82DA-4A0E-B167-2113794792C1}" dt="2023-10-17T13:56:27.909" v="467" actId="207"/>
          <ac:spMkLst>
            <pc:docMk/>
            <pc:sldMk cId="1847898228" sldId="420"/>
            <ac:spMk id="8" creationId="{83887551-7B82-2F2F-8B9F-5CD8166942EF}"/>
          </ac:spMkLst>
        </pc:spChg>
        <pc:spChg chg="mod">
          <ac:chgData name="Damiano Guerrucci" userId="45e1f4a0-70d7-416d-bde6-d721a2afaa75" providerId="ADAL" clId="{F4421C71-82DA-4A0E-B167-2113794792C1}" dt="2023-10-17T13:56:27.909" v="467" actId="207"/>
          <ac:spMkLst>
            <pc:docMk/>
            <pc:sldMk cId="1847898228" sldId="420"/>
            <ac:spMk id="10" creationId="{B33E5F07-BBBD-A286-EA56-52BF0E5833C8}"/>
          </ac:spMkLst>
        </pc:spChg>
        <pc:graphicFrameChg chg="modGraphic">
          <ac:chgData name="Damiano Guerrucci" userId="45e1f4a0-70d7-416d-bde6-d721a2afaa75" providerId="ADAL" clId="{F4421C71-82DA-4A0E-B167-2113794792C1}" dt="2023-10-17T13:42:32.838" v="368" actId="207"/>
          <ac:graphicFrameMkLst>
            <pc:docMk/>
            <pc:sldMk cId="1847898228" sldId="420"/>
            <ac:graphicFrameMk id="3" creationId="{A9F6D8DC-0E4B-525F-9B64-280F12600A97}"/>
          </ac:graphicFrameMkLst>
        </pc:graphicFrameChg>
        <pc:graphicFrameChg chg="mod ord modGraphic">
          <ac:chgData name="Damiano Guerrucci" userId="45e1f4a0-70d7-416d-bde6-d721a2afaa75" providerId="ADAL" clId="{F4421C71-82DA-4A0E-B167-2113794792C1}" dt="2023-10-17T13:55:40.877" v="464" actId="700"/>
          <ac:graphicFrameMkLst>
            <pc:docMk/>
            <pc:sldMk cId="1847898228" sldId="420"/>
            <ac:graphicFrameMk id="9" creationId="{FA87312D-98D3-59A0-5260-8745FFC1D675}"/>
          </ac:graphicFrameMkLst>
        </pc:graphicFrameChg>
        <pc:picChg chg="mod">
          <ac:chgData name="Damiano Guerrucci" userId="45e1f4a0-70d7-416d-bde6-d721a2afaa75" providerId="ADAL" clId="{F4421C71-82DA-4A0E-B167-2113794792C1}" dt="2023-10-17T13:57:07.033" v="469" actId="207"/>
          <ac:picMkLst>
            <pc:docMk/>
            <pc:sldMk cId="1847898228" sldId="420"/>
            <ac:picMk id="12" creationId="{459040D1-9B68-212B-609C-095D4E67CFAB}"/>
          </ac:picMkLst>
        </pc:picChg>
        <pc:picChg chg="mod">
          <ac:chgData name="Damiano Guerrucci" userId="45e1f4a0-70d7-416d-bde6-d721a2afaa75" providerId="ADAL" clId="{F4421C71-82DA-4A0E-B167-2113794792C1}" dt="2023-10-17T13:57:07.033" v="469" actId="207"/>
          <ac:picMkLst>
            <pc:docMk/>
            <pc:sldMk cId="1847898228" sldId="420"/>
            <ac:picMk id="13" creationId="{673B44C3-F2A8-1A8C-324B-30258801D602}"/>
          </ac:picMkLst>
        </pc:picChg>
        <pc:picChg chg="mod">
          <ac:chgData name="Damiano Guerrucci" userId="45e1f4a0-70d7-416d-bde6-d721a2afaa75" providerId="ADAL" clId="{F4421C71-82DA-4A0E-B167-2113794792C1}" dt="2023-10-17T13:56:57.455" v="468" actId="207"/>
          <ac:picMkLst>
            <pc:docMk/>
            <pc:sldMk cId="1847898228" sldId="420"/>
            <ac:picMk id="15" creationId="{87DEB7C3-2659-412C-D024-072ADD37F76C}"/>
          </ac:picMkLst>
        </pc:picChg>
        <pc:picChg chg="mod">
          <ac:chgData name="Damiano Guerrucci" userId="45e1f4a0-70d7-416d-bde6-d721a2afaa75" providerId="ADAL" clId="{F4421C71-82DA-4A0E-B167-2113794792C1}" dt="2023-10-17T13:56:57.455" v="468" actId="207"/>
          <ac:picMkLst>
            <pc:docMk/>
            <pc:sldMk cId="1847898228" sldId="420"/>
            <ac:picMk id="17" creationId="{5C0C72E5-AF38-4286-102F-3BFE324A3116}"/>
          </ac:picMkLst>
        </pc:picChg>
      </pc:sldChg>
      <pc:sldChg chg="add del">
        <pc:chgData name="Damiano Guerrucci" userId="45e1f4a0-70d7-416d-bde6-d721a2afaa75" providerId="ADAL" clId="{F4421C71-82DA-4A0E-B167-2113794792C1}" dt="2023-10-11T10:44:34.164" v="74" actId="2696"/>
        <pc:sldMkLst>
          <pc:docMk/>
          <pc:sldMk cId="1232468635" sldId="1140"/>
        </pc:sldMkLst>
      </pc:sldChg>
      <pc:sldChg chg="addSp delSp modSp mod ord modClrScheme chgLayout">
        <pc:chgData name="Damiano Guerrucci" userId="45e1f4a0-70d7-416d-bde6-d721a2afaa75" providerId="ADAL" clId="{F4421C71-82DA-4A0E-B167-2113794792C1}" dt="2023-10-17T12:16:02.023" v="249" actId="1035"/>
        <pc:sldMkLst>
          <pc:docMk/>
          <pc:sldMk cId="1137816146" sldId="1141"/>
        </pc:sldMkLst>
        <pc:spChg chg="add del mod ord">
          <ac:chgData name="Damiano Guerrucci" userId="45e1f4a0-70d7-416d-bde6-d721a2afaa75" providerId="ADAL" clId="{F4421C71-82DA-4A0E-B167-2113794792C1}" dt="2023-10-11T10:45:00.528" v="80" actId="700"/>
          <ac:spMkLst>
            <pc:docMk/>
            <pc:sldMk cId="1137816146" sldId="1141"/>
            <ac:spMk id="2" creationId="{BA756EA2-6CD5-448D-A63B-C78542A1A951}"/>
          </ac:spMkLst>
        </pc:spChg>
        <pc:spChg chg="add del mod ord">
          <ac:chgData name="Damiano Guerrucci" userId="45e1f4a0-70d7-416d-bde6-d721a2afaa75" providerId="ADAL" clId="{F4421C71-82DA-4A0E-B167-2113794792C1}" dt="2023-10-11T10:45:00.528" v="80" actId="700"/>
          <ac:spMkLst>
            <pc:docMk/>
            <pc:sldMk cId="1137816146" sldId="1141"/>
            <ac:spMk id="3" creationId="{16C27139-7B4A-1C37-4E96-2A7BD9EDAE33}"/>
          </ac:spMkLst>
        </pc:spChg>
        <pc:spChg chg="add mod ord">
          <ac:chgData name="Damiano Guerrucci" userId="45e1f4a0-70d7-416d-bde6-d721a2afaa75" providerId="ADAL" clId="{F4421C71-82DA-4A0E-B167-2113794792C1}" dt="2023-10-11T10:47:14.729" v="96" actId="20577"/>
          <ac:spMkLst>
            <pc:docMk/>
            <pc:sldMk cId="1137816146" sldId="1141"/>
            <ac:spMk id="4" creationId="{643CC589-1AA4-E063-6A2D-8A07C08CEEFF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5" creationId="{00000000-0000-0000-0000-000000000000}"/>
          </ac:spMkLst>
        </pc:spChg>
        <pc:spChg chg="mod">
          <ac:chgData name="Damiano Guerrucci" userId="45e1f4a0-70d7-416d-bde6-d721a2afaa75" providerId="ADAL" clId="{F4421C71-82DA-4A0E-B167-2113794792C1}" dt="2023-10-17T12:16:02.023" v="249" actId="1035"/>
          <ac:spMkLst>
            <pc:docMk/>
            <pc:sldMk cId="1137816146" sldId="1141"/>
            <ac:spMk id="6" creationId="{923644EA-02E0-E0A2-18C7-80F73C101EA4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8" creationId="{AAF8029B-E35E-03AE-57E7-626EE2C2116D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9" creationId="{5B911FA4-30E4-B041-2BE3-D4933DE00C7C}"/>
          </ac:spMkLst>
        </pc:spChg>
        <pc:spChg chg="del mod">
          <ac:chgData name="Damiano Guerrucci" userId="45e1f4a0-70d7-416d-bde6-d721a2afaa75" providerId="ADAL" clId="{F4421C71-82DA-4A0E-B167-2113794792C1}" dt="2023-10-11T10:46:41.149" v="88" actId="478"/>
          <ac:spMkLst>
            <pc:docMk/>
            <pc:sldMk cId="1137816146" sldId="1141"/>
            <ac:spMk id="10" creationId="{00000000-0000-0000-0000-000000000000}"/>
          </ac:spMkLst>
        </pc:spChg>
        <pc:spChg chg="add del mod ord">
          <ac:chgData name="Damiano Guerrucci" userId="45e1f4a0-70d7-416d-bde6-d721a2afaa75" providerId="ADAL" clId="{F4421C71-82DA-4A0E-B167-2113794792C1}" dt="2023-10-11T10:46:48.746" v="90" actId="478"/>
          <ac:spMkLst>
            <pc:docMk/>
            <pc:sldMk cId="1137816146" sldId="1141"/>
            <ac:spMk id="12" creationId="{422AAAF0-50F6-3E4C-3247-55D95EED8A47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13" creationId="{BC2395F8-C0D9-2202-5BD2-8EFF36B232D0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34" creationId="{00000000-0000-0000-0000-000000000000}"/>
          </ac:spMkLst>
        </pc:spChg>
        <pc:spChg chg="del mod">
          <ac:chgData name="Damiano Guerrucci" userId="45e1f4a0-70d7-416d-bde6-d721a2afaa75" providerId="ADAL" clId="{F4421C71-82DA-4A0E-B167-2113794792C1}" dt="2023-10-11T10:47:04.953" v="93" actId="478"/>
          <ac:spMkLst>
            <pc:docMk/>
            <pc:sldMk cId="1137816146" sldId="1141"/>
            <ac:spMk id="35" creationId="{00000000-0000-0000-0000-000000000000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37" creationId="{00000000-0000-0000-0000-000000000000}"/>
          </ac:spMkLst>
        </pc:spChg>
        <pc:spChg chg="del mod">
          <ac:chgData name="Damiano Guerrucci" userId="45e1f4a0-70d7-416d-bde6-d721a2afaa75" providerId="ADAL" clId="{F4421C71-82DA-4A0E-B167-2113794792C1}" dt="2023-10-11T10:46:30.315" v="86" actId="478"/>
          <ac:spMkLst>
            <pc:docMk/>
            <pc:sldMk cId="1137816146" sldId="1141"/>
            <ac:spMk id="40" creationId="{41403F7E-A315-56FE-0A61-FBBECC1B813F}"/>
          </ac:spMkLst>
        </pc:spChg>
        <pc:spChg chg="mod">
          <ac:chgData name="Damiano Guerrucci" userId="45e1f4a0-70d7-416d-bde6-d721a2afaa75" providerId="ADAL" clId="{F4421C71-82DA-4A0E-B167-2113794792C1}" dt="2023-10-11T10:45:36.681" v="85" actId="207"/>
          <ac:spMkLst>
            <pc:docMk/>
            <pc:sldMk cId="1137816146" sldId="1141"/>
            <ac:spMk id="43" creationId="{E64EA16C-A95E-A63B-FD09-60C46A74FCA7}"/>
          </ac:spMkLst>
        </pc:spChg>
        <pc:picChg chg="mod">
          <ac:chgData name="Damiano Guerrucci" userId="45e1f4a0-70d7-416d-bde6-d721a2afaa75" providerId="ADAL" clId="{F4421C71-82DA-4A0E-B167-2113794792C1}" dt="2023-10-11T10:47:35.391" v="97" actId="1076"/>
          <ac:picMkLst>
            <pc:docMk/>
            <pc:sldMk cId="1137816146" sldId="1141"/>
            <ac:picMk id="7" creationId="{61043193-BF22-0CAD-9C71-663A46449DAC}"/>
          </ac:picMkLst>
        </pc:picChg>
        <pc:picChg chg="del">
          <ac:chgData name="Damiano Guerrucci" userId="45e1f4a0-70d7-416d-bde6-d721a2afaa75" providerId="ADAL" clId="{F4421C71-82DA-4A0E-B167-2113794792C1}" dt="2023-10-11T10:45:13.108" v="81" actId="478"/>
          <ac:picMkLst>
            <pc:docMk/>
            <pc:sldMk cId="1137816146" sldId="1141"/>
            <ac:picMk id="11" creationId="{00000000-0000-0000-0000-000000000000}"/>
          </ac:picMkLst>
        </pc:picChg>
        <pc:picChg chg="mod">
          <ac:chgData name="Damiano Guerrucci" userId="45e1f4a0-70d7-416d-bde6-d721a2afaa75" providerId="ADAL" clId="{F4421C71-82DA-4A0E-B167-2113794792C1}" dt="2023-10-11T10:45:36.681" v="85" actId="207"/>
          <ac:picMkLst>
            <pc:docMk/>
            <pc:sldMk cId="1137816146" sldId="1141"/>
            <ac:picMk id="15" creationId="{E2571D88-73A0-BF47-DAF9-F1BD484065A0}"/>
          </ac:picMkLst>
        </pc:picChg>
      </pc:sldChg>
      <pc:sldChg chg="addSp delSp modSp add mod ord modClrScheme chgLayout">
        <pc:chgData name="Damiano Guerrucci" userId="45e1f4a0-70d7-416d-bde6-d721a2afaa75" providerId="ADAL" clId="{F4421C71-82DA-4A0E-B167-2113794792C1}" dt="2023-10-17T12:24:57.119" v="363" actId="207"/>
        <pc:sldMkLst>
          <pc:docMk/>
          <pc:sldMk cId="1445507344" sldId="1145"/>
        </pc:sldMkLst>
        <pc:spChg chg="mod">
          <ac:chgData name="Damiano Guerrucci" userId="45e1f4a0-70d7-416d-bde6-d721a2afaa75" providerId="ADAL" clId="{F4421C71-82DA-4A0E-B167-2113794792C1}" dt="2023-10-17T12:24:48.923" v="361" actId="207"/>
          <ac:spMkLst>
            <pc:docMk/>
            <pc:sldMk cId="1445507344" sldId="1145"/>
            <ac:spMk id="2" creationId="{5BB0E9DC-351C-BFC6-F2BF-9F05B7DD8498}"/>
          </ac:spMkLst>
        </pc:spChg>
        <pc:spChg chg="add del mod ord">
          <ac:chgData name="Damiano Guerrucci" userId="45e1f4a0-70d7-416d-bde6-d721a2afaa75" providerId="ADAL" clId="{F4421C71-82DA-4A0E-B167-2113794792C1}" dt="2023-10-17T12:22:44.402" v="345" actId="700"/>
          <ac:spMkLst>
            <pc:docMk/>
            <pc:sldMk cId="1445507344" sldId="1145"/>
            <ac:spMk id="3" creationId="{26483BD0-3F41-92D9-7660-24F38ECA7588}"/>
          </ac:spMkLst>
        </pc:spChg>
        <pc:spChg chg="add del mod ord">
          <ac:chgData name="Damiano Guerrucci" userId="45e1f4a0-70d7-416d-bde6-d721a2afaa75" providerId="ADAL" clId="{F4421C71-82DA-4A0E-B167-2113794792C1}" dt="2023-10-17T12:22:44.402" v="345" actId="700"/>
          <ac:spMkLst>
            <pc:docMk/>
            <pc:sldMk cId="1445507344" sldId="1145"/>
            <ac:spMk id="5" creationId="{FA539BBD-B5C9-9FD0-61D2-497D3132273F}"/>
          </ac:spMkLst>
        </pc:spChg>
        <pc:spChg chg="add del mod ord">
          <ac:chgData name="Damiano Guerrucci" userId="45e1f4a0-70d7-416d-bde6-d721a2afaa75" providerId="ADAL" clId="{F4421C71-82DA-4A0E-B167-2113794792C1}" dt="2023-10-17T12:24:14.130" v="359" actId="207"/>
          <ac:spMkLst>
            <pc:docMk/>
            <pc:sldMk cId="1445507344" sldId="1145"/>
            <ac:spMk id="8" creationId="{21B3B7D8-C06A-9F1D-8276-3A2725ABFBE6}"/>
          </ac:spMkLst>
        </pc:spChg>
        <pc:spChg chg="del mod">
          <ac:chgData name="Damiano Guerrucci" userId="45e1f4a0-70d7-416d-bde6-d721a2afaa75" providerId="ADAL" clId="{F4421C71-82DA-4A0E-B167-2113794792C1}" dt="2023-10-17T12:23:46.806" v="353" actId="478"/>
          <ac:spMkLst>
            <pc:docMk/>
            <pc:sldMk cId="1445507344" sldId="1145"/>
            <ac:spMk id="9" creationId="{00000000-0000-0000-0000-000000000000}"/>
          </ac:spMkLst>
        </pc:spChg>
        <pc:spChg chg="add del mod ord">
          <ac:chgData name="Damiano Guerrucci" userId="45e1f4a0-70d7-416d-bde6-d721a2afaa75" providerId="ADAL" clId="{F4421C71-82DA-4A0E-B167-2113794792C1}" dt="2023-10-17T12:24:25.948" v="360" actId="478"/>
          <ac:spMkLst>
            <pc:docMk/>
            <pc:sldMk cId="1445507344" sldId="1145"/>
            <ac:spMk id="10" creationId="{C3943154-A0C5-28B0-CB99-9CE03707DB82}"/>
          </ac:spMkLst>
        </pc:spChg>
        <pc:spChg chg="mod">
          <ac:chgData name="Damiano Guerrucci" userId="45e1f4a0-70d7-416d-bde6-d721a2afaa75" providerId="ADAL" clId="{F4421C71-82DA-4A0E-B167-2113794792C1}" dt="2023-10-17T12:24:52.194" v="362" actId="207"/>
          <ac:spMkLst>
            <pc:docMk/>
            <pc:sldMk cId="1445507344" sldId="1145"/>
            <ac:spMk id="11" creationId="{00000000-0000-0000-0000-000000000000}"/>
          </ac:spMkLst>
        </pc:spChg>
        <pc:spChg chg="mod">
          <ac:chgData name="Damiano Guerrucci" userId="45e1f4a0-70d7-416d-bde6-d721a2afaa75" providerId="ADAL" clId="{F4421C71-82DA-4A0E-B167-2113794792C1}" dt="2023-10-17T12:24:57.119" v="363" actId="207"/>
          <ac:spMkLst>
            <pc:docMk/>
            <pc:sldMk cId="1445507344" sldId="1145"/>
            <ac:spMk id="12" creationId="{00000000-0000-0000-0000-000000000000}"/>
          </ac:spMkLst>
        </pc:spChg>
        <pc:picChg chg="del">
          <ac:chgData name="Damiano Guerrucci" userId="45e1f4a0-70d7-416d-bde6-d721a2afaa75" providerId="ADAL" clId="{F4421C71-82DA-4A0E-B167-2113794792C1}" dt="2023-10-11T10:47:43.096" v="98" actId="478"/>
          <ac:picMkLst>
            <pc:docMk/>
            <pc:sldMk cId="1445507344" sldId="1145"/>
            <ac:picMk id="8" creationId="{00000000-0000-0000-0000-000000000000}"/>
          </ac:picMkLst>
        </pc:picChg>
      </pc:sldChg>
      <pc:sldChg chg="addSp delSp modSp mod modClrScheme modShow chgLayout">
        <pc:chgData name="Damiano Guerrucci" userId="45e1f4a0-70d7-416d-bde6-d721a2afaa75" providerId="ADAL" clId="{F4421C71-82DA-4A0E-B167-2113794792C1}" dt="2023-10-17T12:15:46.206" v="234" actId="729"/>
        <pc:sldMkLst>
          <pc:docMk/>
          <pc:sldMk cId="2205847068" sldId="1146"/>
        </pc:sldMkLst>
        <pc:spChg chg="mod ord">
          <ac:chgData name="Damiano Guerrucci" userId="45e1f4a0-70d7-416d-bde6-d721a2afaa75" providerId="ADAL" clId="{F4421C71-82DA-4A0E-B167-2113794792C1}" dt="2023-10-11T10:41:57.445" v="29" actId="700"/>
          <ac:spMkLst>
            <pc:docMk/>
            <pc:sldMk cId="2205847068" sldId="1146"/>
            <ac:spMk id="2" creationId="{D7002DC8-3C01-E0D3-E538-846603983240}"/>
          </ac:spMkLst>
        </pc:spChg>
        <pc:spChg chg="add del mod ord">
          <ac:chgData name="Damiano Guerrucci" userId="45e1f4a0-70d7-416d-bde6-d721a2afaa75" providerId="ADAL" clId="{F4421C71-82DA-4A0E-B167-2113794792C1}" dt="2023-10-11T10:41:57.445" v="29" actId="700"/>
          <ac:spMkLst>
            <pc:docMk/>
            <pc:sldMk cId="2205847068" sldId="1146"/>
            <ac:spMk id="3" creationId="{5806C235-9287-4941-C1B9-DC6A9246AE58}"/>
          </ac:spMkLst>
        </pc:spChg>
        <pc:spChg chg="mod">
          <ac:chgData name="Damiano Guerrucci" userId="45e1f4a0-70d7-416d-bde6-d721a2afaa75" providerId="ADAL" clId="{F4421C71-82DA-4A0E-B167-2113794792C1}" dt="2023-10-11T10:40:20.938" v="10" actId="1076"/>
          <ac:spMkLst>
            <pc:docMk/>
            <pc:sldMk cId="2205847068" sldId="1146"/>
            <ac:spMk id="10" creationId="{73E70A19-F2C2-7B73-9B09-99E1460D6301}"/>
          </ac:spMkLst>
        </pc:spChg>
        <pc:spChg chg="mod">
          <ac:chgData name="Damiano Guerrucci" userId="45e1f4a0-70d7-416d-bde6-d721a2afaa75" providerId="ADAL" clId="{F4421C71-82DA-4A0E-B167-2113794792C1}" dt="2023-10-11T10:40:26.423" v="11" actId="1076"/>
          <ac:spMkLst>
            <pc:docMk/>
            <pc:sldMk cId="2205847068" sldId="1146"/>
            <ac:spMk id="12" creationId="{8AFFCF08-3CB0-8D18-A287-778BDFBB1BBC}"/>
          </ac:spMkLst>
        </pc:spChg>
        <pc:spChg chg="mod">
          <ac:chgData name="Damiano Guerrucci" userId="45e1f4a0-70d7-416d-bde6-d721a2afaa75" providerId="ADAL" clId="{F4421C71-82DA-4A0E-B167-2113794792C1}" dt="2023-10-11T10:40:15.283" v="9" actId="1076"/>
          <ac:spMkLst>
            <pc:docMk/>
            <pc:sldMk cId="2205847068" sldId="1146"/>
            <ac:spMk id="13" creationId="{3CBC94B5-C8F4-298B-E415-21165F59A815}"/>
          </ac:spMkLst>
        </pc:spChg>
        <pc:spChg chg="mod">
          <ac:chgData name="Damiano Guerrucci" userId="45e1f4a0-70d7-416d-bde6-d721a2afaa75" providerId="ADAL" clId="{F4421C71-82DA-4A0E-B167-2113794792C1}" dt="2023-10-11T10:40:08.178" v="8" actId="1076"/>
          <ac:spMkLst>
            <pc:docMk/>
            <pc:sldMk cId="2205847068" sldId="1146"/>
            <ac:spMk id="14" creationId="{238E7865-7C95-2443-5F75-E86788086178}"/>
          </ac:spMkLst>
        </pc:spChg>
        <pc:spChg chg="del">
          <ac:chgData name="Damiano Guerrucci" userId="45e1f4a0-70d7-416d-bde6-d721a2afaa75" providerId="ADAL" clId="{F4421C71-82DA-4A0E-B167-2113794792C1}" dt="2023-10-11T10:39:15.251" v="3" actId="478"/>
          <ac:spMkLst>
            <pc:docMk/>
            <pc:sldMk cId="2205847068" sldId="1146"/>
            <ac:spMk id="15" creationId="{49A54FEA-FC4D-45A0-3332-E5452304DAB5}"/>
          </ac:spMkLst>
        </pc:spChg>
        <pc:graphicFrameChg chg="mod">
          <ac:chgData name="Damiano Guerrucci" userId="45e1f4a0-70d7-416d-bde6-d721a2afaa75" providerId="ADAL" clId="{F4421C71-82DA-4A0E-B167-2113794792C1}" dt="2023-10-11T10:41:34.244" v="27" actId="20577"/>
          <ac:graphicFrameMkLst>
            <pc:docMk/>
            <pc:sldMk cId="2205847068" sldId="1146"/>
            <ac:graphicFrameMk id="9" creationId="{CB0F27BF-74A5-F2F2-035E-4646FA5F14C9}"/>
          </ac:graphicFrameMkLst>
        </pc:graphicFrameChg>
        <pc:picChg chg="mod modCrop">
          <ac:chgData name="Damiano Guerrucci" userId="45e1f4a0-70d7-416d-bde6-d721a2afaa75" providerId="ADAL" clId="{F4421C71-82DA-4A0E-B167-2113794792C1}" dt="2023-10-11T10:39:50.993" v="7" actId="14100"/>
          <ac:picMkLst>
            <pc:docMk/>
            <pc:sldMk cId="2205847068" sldId="1146"/>
            <ac:picMk id="8" creationId="{C98572D4-7D06-F501-973C-3A45B81CF91C}"/>
          </ac:picMkLst>
        </pc:picChg>
      </pc:sldChg>
      <pc:sldChg chg="addSp delSp modSp add mod ord modClrScheme chgLayout">
        <pc:chgData name="Damiano Guerrucci" userId="45e1f4a0-70d7-416d-bde6-d721a2afaa75" providerId="ADAL" clId="{F4421C71-82DA-4A0E-B167-2113794792C1}" dt="2023-10-17T12:14:40.812" v="231" actId="20577"/>
        <pc:sldMkLst>
          <pc:docMk/>
          <pc:sldMk cId="2975411595" sldId="2811"/>
        </pc:sldMkLst>
        <pc:spChg chg="add del mod ord">
          <ac:chgData name="Damiano Guerrucci" userId="45e1f4a0-70d7-416d-bde6-d721a2afaa75" providerId="ADAL" clId="{F4421C71-82DA-4A0E-B167-2113794792C1}" dt="2023-10-17T12:07:42.339" v="108" actId="700"/>
          <ac:spMkLst>
            <pc:docMk/>
            <pc:sldMk cId="2975411595" sldId="2811"/>
            <ac:spMk id="4" creationId="{ED267D05-31D0-F6DF-A121-AB4DE3F6EDC7}"/>
          </ac:spMkLst>
        </pc:spChg>
        <pc:spChg chg="add del mod ord">
          <ac:chgData name="Damiano Guerrucci" userId="45e1f4a0-70d7-416d-bde6-d721a2afaa75" providerId="ADAL" clId="{F4421C71-82DA-4A0E-B167-2113794792C1}" dt="2023-10-17T12:07:42.339" v="108" actId="700"/>
          <ac:spMkLst>
            <pc:docMk/>
            <pc:sldMk cId="2975411595" sldId="2811"/>
            <ac:spMk id="5" creationId="{C8549CAB-8255-2545-6057-58A46AE65E10}"/>
          </ac:spMkLst>
        </pc:spChg>
        <pc:spChg chg="add mod ord">
          <ac:chgData name="Damiano Guerrucci" userId="45e1f4a0-70d7-416d-bde6-d721a2afaa75" providerId="ADAL" clId="{F4421C71-82DA-4A0E-B167-2113794792C1}" dt="2023-10-17T12:14:40.812" v="231" actId="20577"/>
          <ac:spMkLst>
            <pc:docMk/>
            <pc:sldMk cId="2975411595" sldId="2811"/>
            <ac:spMk id="6" creationId="{E3089D9E-11D9-0B02-2724-288BCC5C2D91}"/>
          </ac:spMkLst>
        </pc:spChg>
        <pc:spChg chg="add mod ord">
          <ac:chgData name="Damiano Guerrucci" userId="45e1f4a0-70d7-416d-bde6-d721a2afaa75" providerId="ADAL" clId="{F4421C71-82DA-4A0E-B167-2113794792C1}" dt="2023-10-17T12:07:42.339" v="108" actId="700"/>
          <ac:spMkLst>
            <pc:docMk/>
            <pc:sldMk cId="2975411595" sldId="2811"/>
            <ac:spMk id="7" creationId="{FFBBE487-10CB-4784-4C5B-D2B49D0AD6F7}"/>
          </ac:spMkLst>
        </pc:spChg>
        <pc:spChg chg="del mod">
          <ac:chgData name="Damiano Guerrucci" userId="45e1f4a0-70d7-416d-bde6-d721a2afaa75" providerId="ADAL" clId="{F4421C71-82DA-4A0E-B167-2113794792C1}" dt="2023-10-17T12:08:21.194" v="112" actId="478"/>
          <ac:spMkLst>
            <pc:docMk/>
            <pc:sldMk cId="2975411595" sldId="2811"/>
            <ac:spMk id="9" creationId="{00000000-0000-0000-0000-000000000000}"/>
          </ac:spMkLst>
        </pc:spChg>
        <pc:spChg chg="add del">
          <ac:chgData name="Damiano Guerrucci" userId="45e1f4a0-70d7-416d-bde6-d721a2afaa75" providerId="ADAL" clId="{F4421C71-82DA-4A0E-B167-2113794792C1}" dt="2023-10-17T12:10:25.478" v="123" actId="478"/>
          <ac:spMkLst>
            <pc:docMk/>
            <pc:sldMk cId="2975411595" sldId="2811"/>
            <ac:spMk id="37" creationId="{00000000-0000-0000-0000-000000000000}"/>
          </ac:spMkLst>
        </pc:spChg>
        <pc:spChg chg="del">
          <ac:chgData name="Damiano Guerrucci" userId="45e1f4a0-70d7-416d-bde6-d721a2afaa75" providerId="ADAL" clId="{F4421C71-82DA-4A0E-B167-2113794792C1}" dt="2023-10-17T12:07:47.207" v="109" actId="478"/>
          <ac:spMkLst>
            <pc:docMk/>
            <pc:sldMk cId="2975411595" sldId="2811"/>
            <ac:spMk id="49" creationId="{00000000-0000-0000-0000-000000000000}"/>
          </ac:spMkLst>
        </pc:spChg>
        <pc:grpChg chg="del">
          <ac:chgData name="Damiano Guerrucci" userId="45e1f4a0-70d7-416d-bde6-d721a2afaa75" providerId="ADAL" clId="{F4421C71-82DA-4A0E-B167-2113794792C1}" dt="2023-10-17T12:10:35.573" v="124" actId="478"/>
          <ac:grpSpMkLst>
            <pc:docMk/>
            <pc:sldMk cId="2975411595" sldId="2811"/>
            <ac:grpSpMk id="87" creationId="{30552D78-F01F-AA40-A9A3-74199B54BDE7}"/>
          </ac:grpSpMkLst>
        </pc:grpChg>
        <pc:picChg chg="del">
          <ac:chgData name="Damiano Guerrucci" userId="45e1f4a0-70d7-416d-bde6-d721a2afaa75" providerId="ADAL" clId="{F4421C71-82DA-4A0E-B167-2113794792C1}" dt="2023-10-17T12:10:40.231" v="125" actId="478"/>
          <ac:picMkLst>
            <pc:docMk/>
            <pc:sldMk cId="2975411595" sldId="2811"/>
            <ac:picMk id="113" creationId="{CA31E21D-8D89-6146-9A79-B05E23BC3D4E}"/>
          </ac:picMkLst>
        </pc:picChg>
        <pc:picChg chg="del">
          <ac:chgData name="Damiano Guerrucci" userId="45e1f4a0-70d7-416d-bde6-d721a2afaa75" providerId="ADAL" clId="{F4421C71-82DA-4A0E-B167-2113794792C1}" dt="2023-10-17T12:10:48.881" v="126" actId="478"/>
          <ac:picMkLst>
            <pc:docMk/>
            <pc:sldMk cId="2975411595" sldId="2811"/>
            <ac:picMk id="114" creationId="{8D69639A-11A9-474F-842A-183FF6FA8F26}"/>
          </ac:picMkLst>
        </pc:picChg>
      </pc:sldChg>
      <pc:sldChg chg="addSp delSp modSp add del mod ord modClrScheme chgLayout">
        <pc:chgData name="Damiano Guerrucci" userId="45e1f4a0-70d7-416d-bde6-d721a2afaa75" providerId="ADAL" clId="{F4421C71-82DA-4A0E-B167-2113794792C1}" dt="2023-10-17T12:19:42.958" v="300" actId="47"/>
        <pc:sldMkLst>
          <pc:docMk/>
          <pc:sldMk cId="2122233002" sldId="2812"/>
        </pc:sldMkLst>
        <pc:spChg chg="add mod ord">
          <ac:chgData name="Damiano Guerrucci" userId="45e1f4a0-70d7-416d-bde6-d721a2afaa75" providerId="ADAL" clId="{F4421C71-82DA-4A0E-B167-2113794792C1}" dt="2023-10-17T12:14:33.469" v="230" actId="20577"/>
          <ac:spMkLst>
            <pc:docMk/>
            <pc:sldMk cId="2122233002" sldId="2812"/>
            <ac:spMk id="2" creationId="{1973DE38-EC4C-14E9-3926-C0D3583A7127}"/>
          </ac:spMkLst>
        </pc:spChg>
        <pc:spChg chg="del">
          <ac:chgData name="Damiano Guerrucci" userId="45e1f4a0-70d7-416d-bde6-d721a2afaa75" providerId="ADAL" clId="{F4421C71-82DA-4A0E-B167-2113794792C1}" dt="2023-10-17T12:14:15.546" v="194" actId="478"/>
          <ac:spMkLst>
            <pc:docMk/>
            <pc:sldMk cId="2122233002" sldId="2812"/>
            <ac:spMk id="4" creationId="{C9373301-CD72-395C-0AB0-40B2A45577A5}"/>
          </ac:spMkLst>
        </pc:spChg>
        <pc:spChg chg="add del mod ord">
          <ac:chgData name="Damiano Guerrucci" userId="45e1f4a0-70d7-416d-bde6-d721a2afaa75" providerId="ADAL" clId="{F4421C71-82DA-4A0E-B167-2113794792C1}" dt="2023-10-17T12:13:40.375" v="190" actId="478"/>
          <ac:spMkLst>
            <pc:docMk/>
            <pc:sldMk cId="2122233002" sldId="2812"/>
            <ac:spMk id="6" creationId="{46D9B588-991F-ECF4-2082-C1C50D297A82}"/>
          </ac:spMkLst>
        </pc:spChg>
        <pc:spChg chg="mod">
          <ac:chgData name="Damiano Guerrucci" userId="45e1f4a0-70d7-416d-bde6-d721a2afaa75" providerId="ADAL" clId="{F4421C71-82DA-4A0E-B167-2113794792C1}" dt="2023-10-17T12:15:00.821" v="233" actId="1076"/>
          <ac:spMkLst>
            <pc:docMk/>
            <pc:sldMk cId="2122233002" sldId="2812"/>
            <ac:spMk id="8" creationId="{C7C096D2-7491-76C2-4308-F8E30C1D3486}"/>
          </ac:spMkLst>
        </pc:spChg>
        <pc:grpChg chg="del">
          <ac:chgData name="Damiano Guerrucci" userId="45e1f4a0-70d7-416d-bde6-d721a2afaa75" providerId="ADAL" clId="{F4421C71-82DA-4A0E-B167-2113794792C1}" dt="2023-10-17T12:13:49.337" v="192" actId="478"/>
          <ac:grpSpMkLst>
            <pc:docMk/>
            <pc:sldMk cId="2122233002" sldId="2812"/>
            <ac:grpSpMk id="35" creationId="{A147927C-1B38-C547-8B44-0AA85BC00705}"/>
          </ac:grpSpMkLst>
        </pc:grpChg>
        <pc:picChg chg="del mod">
          <ac:chgData name="Damiano Guerrucci" userId="45e1f4a0-70d7-416d-bde6-d721a2afaa75" providerId="ADAL" clId="{F4421C71-82DA-4A0E-B167-2113794792C1}" dt="2023-10-17T12:13:17.692" v="188" actId="478"/>
          <ac:picMkLst>
            <pc:docMk/>
            <pc:sldMk cId="2122233002" sldId="2812"/>
            <ac:picMk id="5" creationId="{00000000-0000-0000-0000-000000000000}"/>
          </ac:picMkLst>
        </pc:picChg>
        <pc:picChg chg="del">
          <ac:chgData name="Damiano Guerrucci" userId="45e1f4a0-70d7-416d-bde6-d721a2afaa75" providerId="ADAL" clId="{F4421C71-82DA-4A0E-B167-2113794792C1}" dt="2023-10-17T12:13:52.044" v="193" actId="478"/>
          <ac:picMkLst>
            <pc:docMk/>
            <pc:sldMk cId="2122233002" sldId="2812"/>
            <ac:picMk id="61" creationId="{EBAC6694-606E-B840-8A6C-C7F5A36B5778}"/>
          </ac:picMkLst>
        </pc:picChg>
        <pc:picChg chg="del">
          <ac:chgData name="Damiano Guerrucci" userId="45e1f4a0-70d7-416d-bde6-d721a2afaa75" providerId="ADAL" clId="{F4421C71-82DA-4A0E-B167-2113794792C1}" dt="2023-10-17T12:13:46.179" v="191" actId="478"/>
          <ac:picMkLst>
            <pc:docMk/>
            <pc:sldMk cId="2122233002" sldId="2812"/>
            <ac:picMk id="62" creationId="{5C9AE992-F998-A64D-8ACA-98B08FCB3BF4}"/>
          </ac:picMkLst>
        </pc:picChg>
      </pc:sldChg>
      <pc:sldChg chg="addSp delSp modSp add mod ord modClrScheme chgLayout">
        <pc:chgData name="Damiano Guerrucci" userId="45e1f4a0-70d7-416d-bde6-d721a2afaa75" providerId="ADAL" clId="{F4421C71-82DA-4A0E-B167-2113794792C1}" dt="2023-10-17T12:19:36.473" v="299" actId="20577"/>
        <pc:sldMkLst>
          <pc:docMk/>
          <pc:sldMk cId="2104317255" sldId="2816"/>
        </pc:sldMkLst>
        <pc:spChg chg="add mod ord">
          <ac:chgData name="Damiano Guerrucci" userId="45e1f4a0-70d7-416d-bde6-d721a2afaa75" providerId="ADAL" clId="{F4421C71-82DA-4A0E-B167-2113794792C1}" dt="2023-10-17T12:19:36.473" v="299" actId="20577"/>
          <ac:spMkLst>
            <pc:docMk/>
            <pc:sldMk cId="2104317255" sldId="2816"/>
            <ac:spMk id="2" creationId="{3AD09A6B-07BE-C782-60A1-657CB0B4D7F1}"/>
          </ac:spMkLst>
        </pc:spChg>
        <pc:spChg chg="add del mod ord">
          <ac:chgData name="Damiano Guerrucci" userId="45e1f4a0-70d7-416d-bde6-d721a2afaa75" providerId="ADAL" clId="{F4421C71-82DA-4A0E-B167-2113794792C1}" dt="2023-10-17T12:18:23.487" v="260" actId="478"/>
          <ac:spMkLst>
            <pc:docMk/>
            <pc:sldMk cId="2104317255" sldId="2816"/>
            <ac:spMk id="3" creationId="{72F5EB5A-8553-9799-2C76-43585437C6DC}"/>
          </ac:spMkLst>
        </pc:spChg>
        <pc:spChg chg="del">
          <ac:chgData name="Damiano Guerrucci" userId="45e1f4a0-70d7-416d-bde6-d721a2afaa75" providerId="ADAL" clId="{F4421C71-82DA-4A0E-B167-2113794792C1}" dt="2023-10-17T12:17:46.863" v="255" actId="478"/>
          <ac:spMkLst>
            <pc:docMk/>
            <pc:sldMk cId="2104317255" sldId="2816"/>
            <ac:spMk id="4" creationId="{2E2B562B-C02F-5702-17B0-230402E67888}"/>
          </ac:spMkLst>
        </pc:spChg>
        <pc:picChg chg="mod">
          <ac:chgData name="Damiano Guerrucci" userId="45e1f4a0-70d7-416d-bde6-d721a2afaa75" providerId="ADAL" clId="{F4421C71-82DA-4A0E-B167-2113794792C1}" dt="2023-10-17T12:19:24.695" v="269" actId="1076"/>
          <ac:picMkLst>
            <pc:docMk/>
            <pc:sldMk cId="2104317255" sldId="2816"/>
            <ac:picMk id="5" creationId="{0623A88E-D085-7010-A445-64473E1824F7}"/>
          </ac:picMkLst>
        </pc:picChg>
        <pc:picChg chg="add mod">
          <ac:chgData name="Damiano Guerrucci" userId="45e1f4a0-70d7-416d-bde6-d721a2afaa75" providerId="ADAL" clId="{F4421C71-82DA-4A0E-B167-2113794792C1}" dt="2023-10-17T12:18:55.786" v="265" actId="1076"/>
          <ac:picMkLst>
            <pc:docMk/>
            <pc:sldMk cId="2104317255" sldId="2816"/>
            <ac:picMk id="6" creationId="{F11C21F1-842B-33EF-F07B-12E8916E14D1}"/>
          </ac:picMkLst>
        </pc:picChg>
        <pc:picChg chg="add del">
          <ac:chgData name="Damiano Guerrucci" userId="45e1f4a0-70d7-416d-bde6-d721a2afaa75" providerId="ADAL" clId="{F4421C71-82DA-4A0E-B167-2113794792C1}" dt="2023-10-17T12:17:56.958" v="257" actId="478"/>
          <ac:picMkLst>
            <pc:docMk/>
            <pc:sldMk cId="2104317255" sldId="2816"/>
            <ac:picMk id="7" creationId="{00000000-0000-0000-0000-000000000000}"/>
          </ac:picMkLst>
        </pc:picChg>
        <pc:picChg chg="del">
          <ac:chgData name="Damiano Guerrucci" userId="45e1f4a0-70d7-416d-bde6-d721a2afaa75" providerId="ADAL" clId="{F4421C71-82DA-4A0E-B167-2113794792C1}" dt="2023-10-17T12:18:27.706" v="261" actId="478"/>
          <ac:picMkLst>
            <pc:docMk/>
            <pc:sldMk cId="2104317255" sldId="2816"/>
            <ac:picMk id="8" creationId="{838AC34E-CC8A-2984-D0B7-D63C6EBE4731}"/>
          </ac:picMkLst>
        </pc:picChg>
        <pc:picChg chg="mod">
          <ac:chgData name="Damiano Guerrucci" userId="45e1f4a0-70d7-416d-bde6-d721a2afaa75" providerId="ADAL" clId="{F4421C71-82DA-4A0E-B167-2113794792C1}" dt="2023-10-17T12:19:06.734" v="267" actId="1076"/>
          <ac:picMkLst>
            <pc:docMk/>
            <pc:sldMk cId="2104317255" sldId="2816"/>
            <ac:picMk id="11" creationId="{87074AED-68CE-5CD2-4C10-0740318D89AE}"/>
          </ac:picMkLst>
        </pc:picChg>
      </pc:sldChg>
      <pc:sldChg chg="addSp delSp modSp add mod ord modClrScheme chgLayout">
        <pc:chgData name="Damiano Guerrucci" userId="45e1f4a0-70d7-416d-bde6-d721a2afaa75" providerId="ADAL" clId="{F4421C71-82DA-4A0E-B167-2113794792C1}" dt="2023-10-17T12:20:57.511" v="340"/>
        <pc:sldMkLst>
          <pc:docMk/>
          <pc:sldMk cId="2783606013" sldId="2817"/>
        </pc:sldMkLst>
        <pc:spChg chg="del mod ord">
          <ac:chgData name="Damiano Guerrucci" userId="45e1f4a0-70d7-416d-bde6-d721a2afaa75" providerId="ADAL" clId="{F4421C71-82DA-4A0E-B167-2113794792C1}" dt="2023-10-17T12:20:01.604" v="301" actId="700"/>
          <ac:spMkLst>
            <pc:docMk/>
            <pc:sldMk cId="2783606013" sldId="2817"/>
            <ac:spMk id="2" creationId="{C99FCE2A-09C4-0F07-FF9D-1A44A465CA97}"/>
          </ac:spMkLst>
        </pc:spChg>
        <pc:spChg chg="del mod ord">
          <ac:chgData name="Damiano Guerrucci" userId="45e1f4a0-70d7-416d-bde6-d721a2afaa75" providerId="ADAL" clId="{F4421C71-82DA-4A0E-B167-2113794792C1}" dt="2023-10-17T12:20:01.604" v="301" actId="700"/>
          <ac:spMkLst>
            <pc:docMk/>
            <pc:sldMk cId="2783606013" sldId="2817"/>
            <ac:spMk id="3" creationId="{FDD6E6EC-86BB-58E1-8D00-4EA715A1B5A7}"/>
          </ac:spMkLst>
        </pc:spChg>
        <pc:spChg chg="del">
          <ac:chgData name="Damiano Guerrucci" userId="45e1f4a0-70d7-416d-bde6-d721a2afaa75" providerId="ADAL" clId="{F4421C71-82DA-4A0E-B167-2113794792C1}" dt="2023-10-17T12:20:06.487" v="302" actId="478"/>
          <ac:spMkLst>
            <pc:docMk/>
            <pc:sldMk cId="2783606013" sldId="2817"/>
            <ac:spMk id="4" creationId="{D37CDD5B-601D-F911-79DB-CF66161ABE8C}"/>
          </ac:spMkLst>
        </pc:spChg>
        <pc:spChg chg="del mod">
          <ac:chgData name="Damiano Guerrucci" userId="45e1f4a0-70d7-416d-bde6-d721a2afaa75" providerId="ADAL" clId="{F4421C71-82DA-4A0E-B167-2113794792C1}" dt="2023-10-17T12:20:26.770" v="314" actId="478"/>
          <ac:spMkLst>
            <pc:docMk/>
            <pc:sldMk cId="2783606013" sldId="2817"/>
            <ac:spMk id="10" creationId="{FF883900-1A93-216B-CAC2-B83E2737EA38}"/>
          </ac:spMkLst>
        </pc:spChg>
        <pc:spChg chg="add mod ord">
          <ac:chgData name="Damiano Guerrucci" userId="45e1f4a0-70d7-416d-bde6-d721a2afaa75" providerId="ADAL" clId="{F4421C71-82DA-4A0E-B167-2113794792C1}" dt="2023-10-17T12:20:34.031" v="338" actId="20577"/>
          <ac:spMkLst>
            <pc:docMk/>
            <pc:sldMk cId="2783606013" sldId="2817"/>
            <ac:spMk id="17" creationId="{F11BA9B5-7344-90AD-1BAE-A2EE5BEC474A}"/>
          </ac:spMkLst>
        </pc:spChg>
        <pc:spChg chg="add mod ord">
          <ac:chgData name="Damiano Guerrucci" userId="45e1f4a0-70d7-416d-bde6-d721a2afaa75" providerId="ADAL" clId="{F4421C71-82DA-4A0E-B167-2113794792C1}" dt="2023-10-17T12:20:01.604" v="301" actId="700"/>
          <ac:spMkLst>
            <pc:docMk/>
            <pc:sldMk cId="2783606013" sldId="2817"/>
            <ac:spMk id="18" creationId="{D7CC1D9E-3D6F-FB68-50C9-E475426BEC49}"/>
          </ac:spMkLst>
        </pc:spChg>
        <pc:picChg chg="del">
          <ac:chgData name="Damiano Guerrucci" userId="45e1f4a0-70d7-416d-bde6-d721a2afaa75" providerId="ADAL" clId="{F4421C71-82DA-4A0E-B167-2113794792C1}" dt="2023-10-17T12:20:14.077" v="303" actId="478"/>
          <ac:picMkLst>
            <pc:docMk/>
            <pc:sldMk cId="2783606013" sldId="2817"/>
            <ac:picMk id="12" creationId="{9568023F-CBDD-2E1C-EFE4-B1C30D625F82}"/>
          </ac:picMkLst>
        </pc:picChg>
      </pc:sldChg>
      <pc:sldChg chg="modSp mod modClrScheme modShow chgLayout">
        <pc:chgData name="Damiano Guerrucci" userId="45e1f4a0-70d7-416d-bde6-d721a2afaa75" providerId="ADAL" clId="{F4421C71-82DA-4A0E-B167-2113794792C1}" dt="2023-10-17T13:56:01.104" v="466" actId="700"/>
        <pc:sldMkLst>
          <pc:docMk/>
          <pc:sldMk cId="1995134781" sldId="2854"/>
        </pc:sldMkLst>
        <pc:spChg chg="mod ord">
          <ac:chgData name="Damiano Guerrucci" userId="45e1f4a0-70d7-416d-bde6-d721a2afaa75" providerId="ADAL" clId="{F4421C71-82DA-4A0E-B167-2113794792C1}" dt="2023-10-17T13:56:01.104" v="466" actId="700"/>
          <ac:spMkLst>
            <pc:docMk/>
            <pc:sldMk cId="1995134781" sldId="2854"/>
            <ac:spMk id="2" creationId="{77124697-F7CD-F705-DE49-92D1F4CC412E}"/>
          </ac:spMkLst>
        </pc:spChg>
        <pc:picChg chg="mod ord">
          <ac:chgData name="Damiano Guerrucci" userId="45e1f4a0-70d7-416d-bde6-d721a2afaa75" providerId="ADAL" clId="{F4421C71-82DA-4A0E-B167-2113794792C1}" dt="2023-10-17T13:56:01.104" v="466" actId="700"/>
          <ac:picMkLst>
            <pc:docMk/>
            <pc:sldMk cId="1995134781" sldId="2854"/>
            <ac:picMk id="5" creationId="{4F111BBC-DA51-CF3E-D5A3-E2A99279355A}"/>
          </ac:picMkLst>
        </pc:picChg>
      </pc:sldChg>
      <pc:sldChg chg="add">
        <pc:chgData name="Damiano Guerrucci" userId="45e1f4a0-70d7-416d-bde6-d721a2afaa75" providerId="ADAL" clId="{F4421C71-82DA-4A0E-B167-2113794792C1}" dt="2023-10-17T12:33:54.241" v="365"/>
        <pc:sldMkLst>
          <pc:docMk/>
          <pc:sldMk cId="312815580" sldId="4414"/>
        </pc:sldMkLst>
      </pc:sldChg>
      <pc:sldChg chg="delSp modSp add mod delCm">
        <pc:chgData name="Damiano Guerrucci" userId="45e1f4a0-70d7-416d-bde6-d721a2afaa75" providerId="ADAL" clId="{F4421C71-82DA-4A0E-B167-2113794792C1}" dt="2023-10-17T14:14:22.506" v="514" actId="478"/>
        <pc:sldMkLst>
          <pc:docMk/>
          <pc:sldMk cId="3764427202" sldId="4427"/>
        </pc:sldMkLst>
        <pc:spChg chg="mod">
          <ac:chgData name="Damiano Guerrucci" userId="45e1f4a0-70d7-416d-bde6-d721a2afaa75" providerId="ADAL" clId="{F4421C71-82DA-4A0E-B167-2113794792C1}" dt="2023-10-17T14:10:50.947" v="510" actId="20577"/>
          <ac:spMkLst>
            <pc:docMk/>
            <pc:sldMk cId="3764427202" sldId="4427"/>
            <ac:spMk id="2" creationId="{61F09C0F-AFA7-4D50-2444-316CCB33A222}"/>
          </ac:spMkLst>
        </pc:spChg>
        <pc:spChg chg="del">
          <ac:chgData name="Damiano Guerrucci" userId="45e1f4a0-70d7-416d-bde6-d721a2afaa75" providerId="ADAL" clId="{F4421C71-82DA-4A0E-B167-2113794792C1}" dt="2023-10-17T14:14:19.276" v="513" actId="478"/>
          <ac:spMkLst>
            <pc:docMk/>
            <pc:sldMk cId="3764427202" sldId="4427"/>
            <ac:spMk id="82" creationId="{6DA2299D-2318-7C48-000F-3DEC1DAE8249}"/>
          </ac:spMkLst>
        </pc:spChg>
        <pc:picChg chg="del">
          <ac:chgData name="Damiano Guerrucci" userId="45e1f4a0-70d7-416d-bde6-d721a2afaa75" providerId="ADAL" clId="{F4421C71-82DA-4A0E-B167-2113794792C1}" dt="2023-10-17T14:14:22.506" v="514" actId="478"/>
          <ac:picMkLst>
            <pc:docMk/>
            <pc:sldMk cId="3764427202" sldId="4427"/>
            <ac:picMk id="81" creationId="{51AF8111-29DD-4AB7-1620-B3A5DE5675C1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Damiano Guerrucci" userId="45e1f4a0-70d7-416d-bde6-d721a2afaa75" providerId="ADAL" clId="{F4421C71-82DA-4A0E-B167-2113794792C1}" dt="2023-10-17T14:13:57.243" v="512"/>
              <pc2:cmMkLst xmlns:pc2="http://schemas.microsoft.com/office/powerpoint/2019/9/main/command">
                <pc:docMk/>
                <pc:sldMk cId="3764427202" sldId="4427"/>
                <pc2:cmMk id="{76B95701-D606-4EF7-9B18-DF0ED4CC78A9}"/>
              </pc2:cmMkLst>
            </pc226:cmChg>
            <pc226:cmChg xmlns:pc226="http://schemas.microsoft.com/office/powerpoint/2022/06/main/command" chg="del">
              <pc226:chgData name="Damiano Guerrucci" userId="45e1f4a0-70d7-416d-bde6-d721a2afaa75" providerId="ADAL" clId="{F4421C71-82DA-4A0E-B167-2113794792C1}" dt="2023-10-17T14:13:47.518" v="511"/>
              <pc2:cmMkLst xmlns:pc2="http://schemas.microsoft.com/office/powerpoint/2019/9/main/command">
                <pc:docMk/>
                <pc:sldMk cId="3764427202" sldId="4427"/>
                <pc2:cmMk id="{4AF8D43B-2E3F-42BF-9C79-5EB8D725C9BB}"/>
              </pc2:cmMkLst>
            </pc226:cmChg>
          </p:ext>
        </pc:extLst>
      </pc:sldChg>
      <pc:sldChg chg="add del">
        <pc:chgData name="Damiano Guerrucci" userId="45e1f4a0-70d7-416d-bde6-d721a2afaa75" providerId="ADAL" clId="{F4421C71-82DA-4A0E-B167-2113794792C1}" dt="2023-10-17T12:33:56.628" v="366" actId="47"/>
        <pc:sldMkLst>
          <pc:docMk/>
          <pc:sldMk cId="3713208786" sldId="2147375995"/>
        </pc:sldMkLst>
      </pc:sldChg>
      <pc:sldChg chg="addSp delSp modSp add mod ord modClrScheme chgLayout">
        <pc:chgData name="Damiano Guerrucci" userId="45e1f4a0-70d7-416d-bde6-d721a2afaa75" providerId="ADAL" clId="{F4421C71-82DA-4A0E-B167-2113794792C1}" dt="2023-10-17T13:54:41.621" v="459" actId="20577"/>
        <pc:sldMkLst>
          <pc:docMk/>
          <pc:sldMk cId="2259443504" sldId="2147375996"/>
        </pc:sldMkLst>
        <pc:spChg chg="mod">
          <ac:chgData name="Damiano Guerrucci" userId="45e1f4a0-70d7-416d-bde6-d721a2afaa75" providerId="ADAL" clId="{F4421C71-82DA-4A0E-B167-2113794792C1}" dt="2023-10-17T13:54:41.621" v="459" actId="20577"/>
          <ac:spMkLst>
            <pc:docMk/>
            <pc:sldMk cId="2259443504" sldId="2147375996"/>
            <ac:spMk id="2" creationId="{4B0B95BF-EFEE-BE71-1F0B-D143AE7D85C0}"/>
          </ac:spMkLst>
        </pc:spChg>
        <pc:spChg chg="add del mod">
          <ac:chgData name="Damiano Guerrucci" userId="45e1f4a0-70d7-416d-bde6-d721a2afaa75" providerId="ADAL" clId="{F4421C71-82DA-4A0E-B167-2113794792C1}" dt="2023-10-17T13:48:23.819" v="378" actId="26606"/>
          <ac:spMkLst>
            <pc:docMk/>
            <pc:sldMk cId="2259443504" sldId="2147375996"/>
            <ac:spMk id="3" creationId="{5760B983-2D46-4108-0AFE-29345181F03A}"/>
          </ac:spMkLst>
        </pc:spChg>
        <pc:spChg chg="add del mod">
          <ac:chgData name="Damiano Guerrucci" userId="45e1f4a0-70d7-416d-bde6-d721a2afaa75" providerId="ADAL" clId="{F4421C71-82DA-4A0E-B167-2113794792C1}" dt="2023-10-17T13:48:12.963" v="375" actId="26606"/>
          <ac:spMkLst>
            <pc:docMk/>
            <pc:sldMk cId="2259443504" sldId="2147375996"/>
            <ac:spMk id="8" creationId="{D5692718-669C-BFEF-2318-D02FA2DC3386}"/>
          </ac:spMkLst>
        </pc:spChg>
        <pc:graphicFrameChg chg="add del mod">
          <ac:chgData name="Damiano Guerrucci" userId="45e1f4a0-70d7-416d-bde6-d721a2afaa75" providerId="ADAL" clId="{F4421C71-82DA-4A0E-B167-2113794792C1}" dt="2023-10-17T13:48:23.785" v="377" actId="26606"/>
          <ac:graphicFrameMkLst>
            <pc:docMk/>
            <pc:sldMk cId="2259443504" sldId="2147375996"/>
            <ac:graphicFrameMk id="5" creationId="{F1F39416-BA0F-7919-84DC-E98DD413F9AC}"/>
          </ac:graphicFrameMkLst>
        </pc:graphicFrameChg>
        <pc:graphicFrameChg chg="add mod modGraphic">
          <ac:chgData name="Damiano Guerrucci" userId="45e1f4a0-70d7-416d-bde6-d721a2afaa75" providerId="ADAL" clId="{F4421C71-82DA-4A0E-B167-2113794792C1}" dt="2023-10-17T13:54:29.274" v="455"/>
          <ac:graphicFrameMkLst>
            <pc:docMk/>
            <pc:sldMk cId="2259443504" sldId="2147375996"/>
            <ac:graphicFrameMk id="7" creationId="{668D7305-19B7-9A07-A78D-6CCEC3F4EC42}"/>
          </ac:graphicFrameMkLst>
        </pc:graphicFrameChg>
      </pc:sldChg>
      <pc:sldChg chg="add">
        <pc:chgData name="Damiano Guerrucci" userId="45e1f4a0-70d7-416d-bde6-d721a2afaa75" providerId="ADAL" clId="{F4421C71-82DA-4A0E-B167-2113794792C1}" dt="2023-10-17T12:34:39.968" v="367"/>
        <pc:sldMkLst>
          <pc:docMk/>
          <pc:sldMk cId="3710042576" sldId="2147375997"/>
        </pc:sldMkLst>
      </pc:sldChg>
      <pc:sldChg chg="add del ord">
        <pc:chgData name="Damiano Guerrucci" userId="45e1f4a0-70d7-416d-bde6-d721a2afaa75" providerId="ADAL" clId="{F4421C71-82DA-4A0E-B167-2113794792C1}" dt="2023-10-17T13:54:51.139" v="460" actId="47"/>
        <pc:sldMkLst>
          <pc:docMk/>
          <pc:sldMk cId="1102906126" sldId="2147375999"/>
        </pc:sldMkLst>
      </pc:sldChg>
      <pc:sldMasterChg chg="delSldLayout">
        <pc:chgData name="Damiano Guerrucci" userId="45e1f4a0-70d7-416d-bde6-d721a2afaa75" providerId="ADAL" clId="{F4421C71-82DA-4A0E-B167-2113794792C1}" dt="2023-10-11T10:38:50.783" v="2" actId="47"/>
        <pc:sldMasterMkLst>
          <pc:docMk/>
          <pc:sldMasterMk cId="3659391583" sldId="2147483957"/>
        </pc:sldMasterMkLst>
        <pc:sldLayoutChg chg="del">
          <pc:chgData name="Damiano Guerrucci" userId="45e1f4a0-70d7-416d-bde6-d721a2afaa75" providerId="ADAL" clId="{F4421C71-82DA-4A0E-B167-2113794792C1}" dt="2023-10-11T10:38:50.783" v="2" actId="47"/>
          <pc:sldLayoutMkLst>
            <pc:docMk/>
            <pc:sldMasterMk cId="3659391583" sldId="2147483957"/>
            <pc:sldLayoutMk cId="1931805040" sldId="2147483979"/>
          </pc:sldLayoutMkLst>
        </pc:sldLayoutChg>
      </pc:sldMasterChg>
    </pc:docChg>
  </pc:docChgLst>
  <pc:docChgLst>
    <pc:chgData name="Mattia Stipa" userId="S::mattia.stipa@esa.int::e4beef06-c41f-480b-9bb9-071be420c820" providerId="AD" clId="Web-{FB4BC790-67F8-A152-DEE9-B65723362B2C}"/>
    <pc:docChg chg="modSld">
      <pc:chgData name="Mattia Stipa" userId="S::mattia.stipa@esa.int::e4beef06-c41f-480b-9bb9-071be420c820" providerId="AD" clId="Web-{FB4BC790-67F8-A152-DEE9-B65723362B2C}" dt="2023-10-23T12:27:15.304" v="0"/>
      <pc:docMkLst>
        <pc:docMk/>
      </pc:docMkLst>
      <pc:sldChg chg="delSp">
        <pc:chgData name="Mattia Stipa" userId="S::mattia.stipa@esa.int::e4beef06-c41f-480b-9bb9-071be420c820" providerId="AD" clId="Web-{FB4BC790-67F8-A152-DEE9-B65723362B2C}" dt="2023-10-23T12:27:15.304" v="0"/>
        <pc:sldMkLst>
          <pc:docMk/>
          <pc:sldMk cId="2431203396" sldId="382"/>
        </pc:sldMkLst>
        <pc:spChg chg="del">
          <ac:chgData name="Mattia Stipa" userId="S::mattia.stipa@esa.int::e4beef06-c41f-480b-9bb9-071be420c820" providerId="AD" clId="Web-{FB4BC790-67F8-A152-DEE9-B65723362B2C}" dt="2023-10-23T12:27:15.304" v="0"/>
          <ac:spMkLst>
            <pc:docMk/>
            <pc:sldMk cId="2431203396" sldId="382"/>
            <ac:spMk id="5" creationId="{8EC4692C-AB50-B44C-B151-543344503025}"/>
          </ac:spMkLst>
        </pc:spChg>
      </pc:sldChg>
    </pc:docChg>
  </pc:docChgLst>
  <pc:docChgLst>
    <pc:chgData name="Roberto Alacevich" userId="53620a48-8cb4-4c3a-8241-4661bd42e4c1" providerId="ADAL" clId="{CF0A7A45-6120-46B0-B7E7-FE383C5D328F}"/>
    <pc:docChg chg="undo custSel addSld delSld modSld">
      <pc:chgData name="Roberto Alacevich" userId="53620a48-8cb4-4c3a-8241-4661bd42e4c1" providerId="ADAL" clId="{CF0A7A45-6120-46B0-B7E7-FE383C5D328F}" dt="2023-10-25T07:20:49.085" v="316" actId="478"/>
      <pc:docMkLst>
        <pc:docMk/>
      </pc:docMkLst>
      <pc:sldChg chg="modSp mod">
        <pc:chgData name="Roberto Alacevich" userId="53620a48-8cb4-4c3a-8241-4661bd42e4c1" providerId="ADAL" clId="{CF0A7A45-6120-46B0-B7E7-FE383C5D328F}" dt="2023-10-20T13:57:13.910" v="129" actId="20577"/>
        <pc:sldMkLst>
          <pc:docMk/>
          <pc:sldMk cId="2268196600" sldId="325"/>
        </pc:sldMkLst>
        <pc:spChg chg="mod">
          <ac:chgData name="Roberto Alacevich" userId="53620a48-8cb4-4c3a-8241-4661bd42e4c1" providerId="ADAL" clId="{CF0A7A45-6120-46B0-B7E7-FE383C5D328F}" dt="2023-10-20T13:57:13.910" v="129" actId="20577"/>
          <ac:spMkLst>
            <pc:docMk/>
            <pc:sldMk cId="2268196600" sldId="325"/>
            <ac:spMk id="3" creationId="{00000000-0000-0000-0000-000000000000}"/>
          </ac:spMkLst>
        </pc:spChg>
      </pc:sldChg>
      <pc:sldChg chg="modSp mod">
        <pc:chgData name="Roberto Alacevich" userId="53620a48-8cb4-4c3a-8241-4661bd42e4c1" providerId="ADAL" clId="{CF0A7A45-6120-46B0-B7E7-FE383C5D328F}" dt="2023-10-25T07:14:47.561" v="314" actId="207"/>
        <pc:sldMkLst>
          <pc:docMk/>
          <pc:sldMk cId="379698617" sldId="328"/>
        </pc:sldMkLst>
        <pc:spChg chg="mod">
          <ac:chgData name="Roberto Alacevich" userId="53620a48-8cb4-4c3a-8241-4661bd42e4c1" providerId="ADAL" clId="{CF0A7A45-6120-46B0-B7E7-FE383C5D328F}" dt="2023-10-25T07:14:47.561" v="314" actId="207"/>
          <ac:spMkLst>
            <pc:docMk/>
            <pc:sldMk cId="379698617" sldId="328"/>
            <ac:spMk id="4" creationId="{49090C7E-AF99-A023-3AD9-C11761D2B46E}"/>
          </ac:spMkLst>
        </pc:spChg>
      </pc:sldChg>
      <pc:sldChg chg="addSp modSp del mod">
        <pc:chgData name="Roberto Alacevich" userId="53620a48-8cb4-4c3a-8241-4661bd42e4c1" providerId="ADAL" clId="{CF0A7A45-6120-46B0-B7E7-FE383C5D328F}" dt="2023-10-23T14:41:06.943" v="233" actId="47"/>
        <pc:sldMkLst>
          <pc:docMk/>
          <pc:sldMk cId="1137816146" sldId="1141"/>
        </pc:sldMkLst>
        <pc:spChg chg="mod">
          <ac:chgData name="Roberto Alacevich" userId="53620a48-8cb4-4c3a-8241-4661bd42e4c1" providerId="ADAL" clId="{CF0A7A45-6120-46B0-B7E7-FE383C5D328F}" dt="2023-10-20T14:03:33.631" v="215" actId="164"/>
          <ac:spMkLst>
            <pc:docMk/>
            <pc:sldMk cId="1137816146" sldId="1141"/>
            <ac:spMk id="8" creationId="{AAF8029B-E35E-03AE-57E7-626EE2C2116D}"/>
          </ac:spMkLst>
        </pc:spChg>
        <pc:spChg chg="mod">
          <ac:chgData name="Roberto Alacevich" userId="53620a48-8cb4-4c3a-8241-4661bd42e4c1" providerId="ADAL" clId="{CF0A7A45-6120-46B0-B7E7-FE383C5D328F}" dt="2023-10-20T14:03:33.631" v="215" actId="164"/>
          <ac:spMkLst>
            <pc:docMk/>
            <pc:sldMk cId="1137816146" sldId="1141"/>
            <ac:spMk id="9" creationId="{5B911FA4-30E4-B041-2BE3-D4933DE00C7C}"/>
          </ac:spMkLst>
        </pc:spChg>
        <pc:spChg chg="mod">
          <ac:chgData name="Roberto Alacevich" userId="53620a48-8cb4-4c3a-8241-4661bd42e4c1" providerId="ADAL" clId="{CF0A7A45-6120-46B0-B7E7-FE383C5D328F}" dt="2023-10-20T14:03:33.631" v="215" actId="164"/>
          <ac:spMkLst>
            <pc:docMk/>
            <pc:sldMk cId="1137816146" sldId="1141"/>
            <ac:spMk id="13" creationId="{BC2395F8-C0D9-2202-5BD2-8EFF36B232D0}"/>
          </ac:spMkLst>
        </pc:spChg>
        <pc:spChg chg="mod">
          <ac:chgData name="Roberto Alacevich" userId="53620a48-8cb4-4c3a-8241-4661bd42e4c1" providerId="ADAL" clId="{CF0A7A45-6120-46B0-B7E7-FE383C5D328F}" dt="2023-10-20T14:19:18.362" v="221" actId="1076"/>
          <ac:spMkLst>
            <pc:docMk/>
            <pc:sldMk cId="1137816146" sldId="1141"/>
            <ac:spMk id="34" creationId="{00000000-0000-0000-0000-000000000000}"/>
          </ac:spMkLst>
        </pc:spChg>
        <pc:spChg chg="mod">
          <ac:chgData name="Roberto Alacevich" userId="53620a48-8cb4-4c3a-8241-4661bd42e4c1" providerId="ADAL" clId="{CF0A7A45-6120-46B0-B7E7-FE383C5D328F}" dt="2023-10-20T14:19:03.339" v="219" actId="1076"/>
          <ac:spMkLst>
            <pc:docMk/>
            <pc:sldMk cId="1137816146" sldId="1141"/>
            <ac:spMk id="37" creationId="{00000000-0000-0000-0000-000000000000}"/>
          </ac:spMkLst>
        </pc:spChg>
        <pc:spChg chg="mod">
          <ac:chgData name="Roberto Alacevich" userId="53620a48-8cb4-4c3a-8241-4661bd42e4c1" providerId="ADAL" clId="{CF0A7A45-6120-46B0-B7E7-FE383C5D328F}" dt="2023-10-20T14:03:33.631" v="215" actId="164"/>
          <ac:spMkLst>
            <pc:docMk/>
            <pc:sldMk cId="1137816146" sldId="1141"/>
            <ac:spMk id="43" creationId="{E64EA16C-A95E-A63B-FD09-60C46A74FCA7}"/>
          </ac:spMkLst>
        </pc:spChg>
        <pc:grpChg chg="add mod">
          <ac:chgData name="Roberto Alacevich" userId="53620a48-8cb4-4c3a-8241-4661bd42e4c1" providerId="ADAL" clId="{CF0A7A45-6120-46B0-B7E7-FE383C5D328F}" dt="2023-10-20T14:15:55.916" v="216" actId="1076"/>
          <ac:grpSpMkLst>
            <pc:docMk/>
            <pc:sldMk cId="1137816146" sldId="1141"/>
            <ac:grpSpMk id="2" creationId="{958A6767-B92C-A788-44CE-B5C2F2FD2DC1}"/>
          </ac:grpSpMkLst>
        </pc:grpChg>
        <pc:picChg chg="mod modCrop">
          <ac:chgData name="Roberto Alacevich" userId="53620a48-8cb4-4c3a-8241-4661bd42e4c1" providerId="ADAL" clId="{CF0A7A45-6120-46B0-B7E7-FE383C5D328F}" dt="2023-10-20T14:18:51.340" v="218" actId="732"/>
          <ac:picMkLst>
            <pc:docMk/>
            <pc:sldMk cId="1137816146" sldId="1141"/>
            <ac:picMk id="7" creationId="{61043193-BF22-0CAD-9C71-663A46449DAC}"/>
          </ac:picMkLst>
        </pc:picChg>
        <pc:picChg chg="mod">
          <ac:chgData name="Roberto Alacevich" userId="53620a48-8cb4-4c3a-8241-4661bd42e4c1" providerId="ADAL" clId="{CF0A7A45-6120-46B0-B7E7-FE383C5D328F}" dt="2023-10-20T14:19:13.106" v="220" actId="1076"/>
          <ac:picMkLst>
            <pc:docMk/>
            <pc:sldMk cId="1137816146" sldId="1141"/>
            <ac:picMk id="15" creationId="{E2571D88-73A0-BF47-DAF9-F1BD484065A0}"/>
          </ac:picMkLst>
        </pc:picChg>
      </pc:sldChg>
      <pc:sldChg chg="delSp modSp del mod">
        <pc:chgData name="Roberto Alacevich" userId="53620a48-8cb4-4c3a-8241-4661bd42e4c1" providerId="ADAL" clId="{CF0A7A45-6120-46B0-B7E7-FE383C5D328F}" dt="2023-10-23T14:41:08.687" v="234" actId="47"/>
        <pc:sldMkLst>
          <pc:docMk/>
          <pc:sldMk cId="1445507344" sldId="1145"/>
        </pc:sldMkLst>
        <pc:spChg chg="mod">
          <ac:chgData name="Roberto Alacevich" userId="53620a48-8cb4-4c3a-8241-4661bd42e4c1" providerId="ADAL" clId="{CF0A7A45-6120-46B0-B7E7-FE383C5D328F}" dt="2023-10-20T14:03:11.665" v="212" actId="1076"/>
          <ac:spMkLst>
            <pc:docMk/>
            <pc:sldMk cId="1445507344" sldId="1145"/>
            <ac:spMk id="11" creationId="{00000000-0000-0000-0000-000000000000}"/>
          </ac:spMkLst>
        </pc:spChg>
        <pc:spChg chg="mod">
          <ac:chgData name="Roberto Alacevich" userId="53620a48-8cb4-4c3a-8241-4661bd42e4c1" providerId="ADAL" clId="{CF0A7A45-6120-46B0-B7E7-FE383C5D328F}" dt="2023-10-20T14:02:54.017" v="210" actId="1076"/>
          <ac:spMkLst>
            <pc:docMk/>
            <pc:sldMk cId="1445507344" sldId="1145"/>
            <ac:spMk id="12" creationId="{00000000-0000-0000-0000-000000000000}"/>
          </ac:spMkLst>
        </pc:spChg>
        <pc:graphicFrameChg chg="del">
          <ac:chgData name="Roberto Alacevich" userId="53620a48-8cb4-4c3a-8241-4661bd42e4c1" providerId="ADAL" clId="{CF0A7A45-6120-46B0-B7E7-FE383C5D328F}" dt="2023-10-20T14:03:02.298" v="211" actId="478"/>
          <ac:graphicFrameMkLst>
            <pc:docMk/>
            <pc:sldMk cId="1445507344" sldId="1145"/>
            <ac:graphicFrameMk id="4" creationId="{00000000-0008-0000-0000-000002000000}"/>
          </ac:graphicFrameMkLst>
        </pc:graphicFrameChg>
        <pc:graphicFrameChg chg="del">
          <ac:chgData name="Roberto Alacevich" userId="53620a48-8cb4-4c3a-8241-4661bd42e4c1" providerId="ADAL" clId="{CF0A7A45-6120-46B0-B7E7-FE383C5D328F}" dt="2023-10-20T14:02:48.132" v="209" actId="478"/>
          <ac:graphicFrameMkLst>
            <pc:docMk/>
            <pc:sldMk cId="1445507344" sldId="1145"/>
            <ac:graphicFrameMk id="7" creationId="{00000000-0008-0000-0300-000005000000}"/>
          </ac:graphicFrameMkLst>
        </pc:graphicFrameChg>
        <pc:picChg chg="mod">
          <ac:chgData name="Roberto Alacevich" userId="53620a48-8cb4-4c3a-8241-4661bd42e4c1" providerId="ADAL" clId="{CF0A7A45-6120-46B0-B7E7-FE383C5D328F}" dt="2023-10-20T14:02:41.108" v="208" actId="1037"/>
          <ac:picMkLst>
            <pc:docMk/>
            <pc:sldMk cId="1445507344" sldId="1145"/>
            <ac:picMk id="36" creationId="{1B7D3AE0-215E-0FBD-5E72-DB1ECBE929D9}"/>
          </ac:picMkLst>
        </pc:picChg>
      </pc:sldChg>
      <pc:sldChg chg="modSp del mod">
        <pc:chgData name="Roberto Alacevich" userId="53620a48-8cb4-4c3a-8241-4661bd42e4c1" providerId="ADAL" clId="{CF0A7A45-6120-46B0-B7E7-FE383C5D328F}" dt="2023-10-23T14:41:05.114" v="232" actId="47"/>
        <pc:sldMkLst>
          <pc:docMk/>
          <pc:sldMk cId="2205847068" sldId="1146"/>
        </pc:sldMkLst>
        <pc:graphicFrameChg chg="mod">
          <ac:chgData name="Roberto Alacevich" userId="53620a48-8cb4-4c3a-8241-4661bd42e4c1" providerId="ADAL" clId="{CF0A7A45-6120-46B0-B7E7-FE383C5D328F}" dt="2023-10-20T14:01:29.823" v="173"/>
          <ac:graphicFrameMkLst>
            <pc:docMk/>
            <pc:sldMk cId="2205847068" sldId="1146"/>
            <ac:graphicFrameMk id="9" creationId="{CB0F27BF-74A5-F2F2-035E-4646FA5F14C9}"/>
          </ac:graphicFrameMkLst>
        </pc:graphicFrameChg>
      </pc:sldChg>
      <pc:sldChg chg="addSp delSp">
        <pc:chgData name="Roberto Alacevich" userId="53620a48-8cb4-4c3a-8241-4661bd42e4c1" providerId="ADAL" clId="{CF0A7A45-6120-46B0-B7E7-FE383C5D328F}" dt="2023-10-20T13:57:48.872" v="138" actId="478"/>
        <pc:sldMkLst>
          <pc:docMk/>
          <pc:sldMk cId="2975411595" sldId="2811"/>
        </pc:sldMkLst>
        <pc:spChg chg="add del">
          <ac:chgData name="Roberto Alacevich" userId="53620a48-8cb4-4c3a-8241-4661bd42e4c1" providerId="ADAL" clId="{CF0A7A45-6120-46B0-B7E7-FE383C5D328F}" dt="2023-10-20T13:57:48.872" v="138" actId="478"/>
          <ac:spMkLst>
            <pc:docMk/>
            <pc:sldMk cId="2975411595" sldId="2811"/>
            <ac:spMk id="7" creationId="{FFBBE487-10CB-4784-4C5B-D2B49D0AD6F7}"/>
          </ac:spMkLst>
        </pc:spChg>
      </pc:sldChg>
      <pc:sldChg chg="modSp mod">
        <pc:chgData name="Roberto Alacevich" userId="53620a48-8cb4-4c3a-8241-4661bd42e4c1" providerId="ADAL" clId="{CF0A7A45-6120-46B0-B7E7-FE383C5D328F}" dt="2023-10-20T13:56:37.205" v="122" actId="14838"/>
        <pc:sldMkLst>
          <pc:docMk/>
          <pc:sldMk cId="2104317255" sldId="2816"/>
        </pc:sldMkLst>
        <pc:spChg chg="mod">
          <ac:chgData name="Roberto Alacevich" userId="53620a48-8cb4-4c3a-8241-4661bd42e4c1" providerId="ADAL" clId="{CF0A7A45-6120-46B0-B7E7-FE383C5D328F}" dt="2023-10-20T13:56:37.205" v="122" actId="14838"/>
          <ac:spMkLst>
            <pc:docMk/>
            <pc:sldMk cId="2104317255" sldId="2816"/>
            <ac:spMk id="9" creationId="{86D0F9F4-1DD4-18EA-C9AC-24FA32DA8433}"/>
          </ac:spMkLst>
        </pc:spChg>
      </pc:sldChg>
      <pc:sldChg chg="delSp modSp mod">
        <pc:chgData name="Roberto Alacevich" userId="53620a48-8cb4-4c3a-8241-4661bd42e4c1" providerId="ADAL" clId="{CF0A7A45-6120-46B0-B7E7-FE383C5D328F}" dt="2023-10-25T07:20:49.085" v="316" actId="478"/>
        <pc:sldMkLst>
          <pc:docMk/>
          <pc:sldMk cId="2783606013" sldId="2817"/>
        </pc:sldMkLst>
        <pc:spChg chg="mod">
          <ac:chgData name="Roberto Alacevich" userId="53620a48-8cb4-4c3a-8241-4661bd42e4c1" providerId="ADAL" clId="{CF0A7A45-6120-46B0-B7E7-FE383C5D328F}" dt="2023-10-20T13:49:49.312" v="5" actId="20577"/>
          <ac:spMkLst>
            <pc:docMk/>
            <pc:sldMk cId="2783606013" sldId="2817"/>
            <ac:spMk id="17" creationId="{F11BA9B5-7344-90AD-1BAE-A2EE5BEC474A}"/>
          </ac:spMkLst>
        </pc:spChg>
        <pc:spChg chg="del">
          <ac:chgData name="Roberto Alacevich" userId="53620a48-8cb4-4c3a-8241-4661bd42e4c1" providerId="ADAL" clId="{CF0A7A45-6120-46B0-B7E7-FE383C5D328F}" dt="2023-10-25T07:20:49.085" v="316" actId="478"/>
          <ac:spMkLst>
            <pc:docMk/>
            <pc:sldMk cId="2783606013" sldId="2817"/>
            <ac:spMk id="18" creationId="{D7CC1D9E-3D6F-FB68-50C9-E475426BEC49}"/>
          </ac:spMkLst>
        </pc:spChg>
        <pc:graphicFrameChg chg="mod modGraphic">
          <ac:chgData name="Roberto Alacevich" userId="53620a48-8cb4-4c3a-8241-4661bd42e4c1" providerId="ADAL" clId="{CF0A7A45-6120-46B0-B7E7-FE383C5D328F}" dt="2023-10-20T13:52:10.249" v="80" actId="255"/>
          <ac:graphicFrameMkLst>
            <pc:docMk/>
            <pc:sldMk cId="2783606013" sldId="2817"/>
            <ac:graphicFrameMk id="16" creationId="{2A0C030E-47C6-878D-56F2-659270806184}"/>
          </ac:graphicFrameMkLst>
        </pc:graphicFrameChg>
      </pc:sldChg>
      <pc:sldChg chg="modSp del">
        <pc:chgData name="Roberto Alacevich" userId="53620a48-8cb4-4c3a-8241-4661bd42e4c1" providerId="ADAL" clId="{CF0A7A45-6120-46B0-B7E7-FE383C5D328F}" dt="2023-10-23T14:41:10.230" v="235" actId="47"/>
        <pc:sldMkLst>
          <pc:docMk/>
          <pc:sldMk cId="1995134781" sldId="2854"/>
        </pc:sldMkLst>
        <pc:picChg chg="mod">
          <ac:chgData name="Roberto Alacevich" userId="53620a48-8cb4-4c3a-8241-4661bd42e4c1" providerId="ADAL" clId="{CF0A7A45-6120-46B0-B7E7-FE383C5D328F}" dt="2023-10-20T14:21:46.024" v="231" actId="1036"/>
          <ac:picMkLst>
            <pc:docMk/>
            <pc:sldMk cId="1995134781" sldId="2854"/>
            <ac:picMk id="5" creationId="{4F111BBC-DA51-CF3E-D5A3-E2A99279355A}"/>
          </ac:picMkLst>
        </pc:picChg>
      </pc:sldChg>
      <pc:sldChg chg="addSp delSp modSp add del mod">
        <pc:chgData name="Roberto Alacevich" userId="53620a48-8cb4-4c3a-8241-4661bd42e4c1" providerId="ADAL" clId="{CF0A7A45-6120-46B0-B7E7-FE383C5D328F}" dt="2023-10-25T07:16:34.222" v="315" actId="47"/>
        <pc:sldMkLst>
          <pc:docMk/>
          <pc:sldMk cId="171852369" sldId="2147375998"/>
        </pc:sldMkLst>
        <pc:spChg chg="add mod">
          <ac:chgData name="Roberto Alacevich" userId="53620a48-8cb4-4c3a-8241-4661bd42e4c1" providerId="ADAL" clId="{CF0A7A45-6120-46B0-B7E7-FE383C5D328F}" dt="2023-10-23T14:42:25.004" v="313" actId="20577"/>
          <ac:spMkLst>
            <pc:docMk/>
            <pc:sldMk cId="171852369" sldId="2147375998"/>
            <ac:spMk id="6" creationId="{C28556B2-E45D-7BF2-963F-E5E8022D9A33}"/>
          </ac:spMkLst>
        </pc:s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21" creationId="{EDB6074D-0B42-F80C-CBD7-AE7A7775E3E0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24" creationId="{9A15A7F0-B520-5027-285C-D4310B27D912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27" creationId="{A31DCA4F-3238-57CA-3DB9-7519B4EB118E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30" creationId="{E7A29B3F-3E31-2F5A-E2A1-7E92024DC256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52" creationId="{4BEFED0D-15E3-3B26-0874-91F6B3BEDFE6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65" creationId="{64DC6261-85CD-31D5-0A7C-C488DFF84598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66" creationId="{B9A2DBDD-6D97-86E0-43BB-EDAFDC80749E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71" creationId="{EEA1C762-482A-E3AE-98B9-E3DC636BC9D0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76" creationId="{25BC29B9-126B-F5F0-91A1-BC199234142A}"/>
          </ac:grpSpMkLst>
        </pc:grpChg>
        <pc:grpChg chg="del">
          <ac:chgData name="Roberto Alacevich" userId="53620a48-8cb4-4c3a-8241-4661bd42e4c1" providerId="ADAL" clId="{CF0A7A45-6120-46B0-B7E7-FE383C5D328F}" dt="2023-10-23T14:42:00.560" v="237" actId="478"/>
          <ac:grpSpMkLst>
            <pc:docMk/>
            <pc:sldMk cId="171852369" sldId="2147375998"/>
            <ac:grpSpMk id="81" creationId="{E1F7C8BC-2B32-24E8-82E0-D89C10AD4B77}"/>
          </ac:grpSpMkLst>
        </pc:grpChg>
        <pc:graphicFrameChg chg="del">
          <ac:chgData name="Roberto Alacevich" userId="53620a48-8cb4-4c3a-8241-4661bd42e4c1" providerId="ADAL" clId="{CF0A7A45-6120-46B0-B7E7-FE383C5D328F}" dt="2023-10-23T14:42:00.560" v="237" actId="478"/>
          <ac:graphicFrameMkLst>
            <pc:docMk/>
            <pc:sldMk cId="171852369" sldId="2147375998"/>
            <ac:graphicFrameMk id="5" creationId="{AC0E6B32-FBF6-F436-C0C2-54DF73BB1F7C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11A_EEBA584A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11A_EEBA584A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11B_A0F0AF7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 prstMaterial="matte"/>
          </c:spPr>
          <c:explosion val="5"/>
          <c:dPt>
            <c:idx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1-741F-47C1-9996-DF6877D07366}"/>
              </c:ext>
            </c:extLst>
          </c:dPt>
          <c:dPt>
            <c:idx val="1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3-741F-47C1-9996-DF6877D07366}"/>
              </c:ext>
            </c:extLst>
          </c:dPt>
          <c:dPt>
            <c:idx val="2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5-741F-47C1-9996-DF6877D07366}"/>
              </c:ext>
            </c:extLst>
          </c:dPt>
          <c:dPt>
            <c:idx val="3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7-741F-47C1-9996-DF6877D07366}"/>
              </c:ext>
            </c:extLst>
          </c:dPt>
          <c:dPt>
            <c:idx val="4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9-741F-47C1-9996-DF6877D07366}"/>
              </c:ext>
            </c:extLst>
          </c:dPt>
          <c:dPt>
            <c:idx val="5"/>
            <c:bubble3D val="0"/>
            <c:spPr>
              <a:solidFill>
                <a:srgbClr val="FBAB1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B-741F-47C1-9996-DF6877D07366}"/>
              </c:ext>
            </c:extLst>
          </c:dPt>
          <c:dPt>
            <c:idx val="6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D-741F-47C1-9996-DF6877D07366}"/>
              </c:ext>
            </c:extLst>
          </c:dPt>
          <c:dPt>
            <c:idx val="7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0F-741F-47C1-9996-DF6877D07366}"/>
              </c:ext>
            </c:extLst>
          </c:dPt>
          <c:dPt>
            <c:idx val="8"/>
            <c:bubble3D val="0"/>
            <c:spPr>
              <a:solidFill>
                <a:srgbClr val="F1666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1-741F-47C1-9996-DF6877D07366}"/>
              </c:ext>
            </c:extLst>
          </c:dPt>
          <c:dPt>
            <c:idx val="9"/>
            <c:bubble3D val="0"/>
            <c:spPr>
              <a:solidFill>
                <a:srgbClr val="ED1B2F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3-741F-47C1-9996-DF6877D07366}"/>
              </c:ext>
            </c:extLst>
          </c:dPt>
          <c:dPt>
            <c:idx val="10"/>
            <c:bubble3D val="0"/>
            <c:spPr>
              <a:solidFill>
                <a:srgbClr val="CF1D39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5-741F-47C1-9996-DF6877D07366}"/>
              </c:ext>
            </c:extLst>
          </c:dPt>
          <c:dPt>
            <c:idx val="11"/>
            <c:bubble3D val="0"/>
            <c:spPr>
              <a:solidFill>
                <a:srgbClr val="96013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7-741F-47C1-9996-DF6877D07366}"/>
              </c:ext>
            </c:extLst>
          </c:dPt>
          <c:dPt>
            <c:idx val="12"/>
            <c:bubble3D val="0"/>
            <c:spPr>
              <a:solidFill>
                <a:srgbClr val="6DCFF6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9-741F-47C1-9996-DF6877D07366}"/>
              </c:ext>
            </c:extLst>
          </c:dPt>
          <c:dPt>
            <c:idx val="13"/>
            <c:bubble3D val="0"/>
            <c:spPr>
              <a:solidFill>
                <a:srgbClr val="009BDB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B-741F-47C1-9996-DF6877D07366}"/>
              </c:ext>
            </c:extLst>
          </c:dPt>
          <c:dPt>
            <c:idx val="14"/>
            <c:bubble3D val="0"/>
            <c:spPr>
              <a:solidFill>
                <a:srgbClr val="00619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D-741F-47C1-9996-DF6877D07366}"/>
              </c:ext>
            </c:extLst>
          </c:dPt>
          <c:dPt>
            <c:idx val="15"/>
            <c:bubble3D val="0"/>
            <c:spPr>
              <a:solidFill>
                <a:srgbClr val="1E3378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1F-741F-47C1-9996-DF6877D07366}"/>
              </c:ext>
            </c:extLst>
          </c:dPt>
          <c:dPt>
            <c:idx val="16"/>
            <c:bubble3D val="0"/>
            <c:spPr>
              <a:solidFill>
                <a:srgbClr val="76C8A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1-741F-47C1-9996-DF6877D07366}"/>
              </c:ext>
            </c:extLst>
          </c:dPt>
          <c:dPt>
            <c:idx val="17"/>
            <c:bubble3D val="0"/>
            <c:spPr>
              <a:solidFill>
                <a:srgbClr val="00AE9D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3-741F-47C1-9996-DF6877D07366}"/>
              </c:ext>
            </c:extLst>
          </c:dPt>
          <c:dPt>
            <c:idx val="18"/>
            <c:bubble3D val="0"/>
            <c:spPr>
              <a:solidFill>
                <a:srgbClr val="008E7A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5-741F-47C1-9996-DF6877D07366}"/>
              </c:ext>
            </c:extLst>
          </c:dPt>
          <c:dPt>
            <c:idx val="19"/>
            <c:bubble3D val="0"/>
            <c:spPr>
              <a:solidFill>
                <a:srgbClr val="00676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7-741F-47C1-9996-DF6877D07366}"/>
              </c:ext>
            </c:extLst>
          </c:dPt>
          <c:dPt>
            <c:idx val="20"/>
            <c:bubble3D val="0"/>
            <c:spPr>
              <a:solidFill>
                <a:srgbClr val="FFCC4E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9-741F-47C1-9996-DF6877D07366}"/>
              </c:ext>
            </c:extLst>
          </c:dPt>
          <c:dPt>
            <c:idx val="21"/>
            <c:bubble3D val="0"/>
            <c:spPr>
              <a:solidFill>
                <a:srgbClr val="FFDE0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B-741F-47C1-9996-DF6877D07366}"/>
              </c:ext>
            </c:extLst>
          </c:dPt>
          <c:dPt>
            <c:idx val="22"/>
            <c:bubble3D val="0"/>
            <c:spPr>
              <a:solidFill>
                <a:srgbClr val="F47920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D-741F-47C1-9996-DF6877D07366}"/>
              </c:ext>
            </c:extLst>
          </c:dPt>
          <c:dPt>
            <c:idx val="23"/>
            <c:bubble3D val="0"/>
            <c:spPr>
              <a:solidFill>
                <a:srgbClr val="A75534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matte"/>
            </c:spPr>
            <c:extLst>
              <c:ext xmlns:c16="http://schemas.microsoft.com/office/drawing/2014/chart" uri="{C3380CC4-5D6E-409C-BE32-E72D297353CC}">
                <c16:uniqueId val="{0000002F-741F-47C1-9996-DF6877D0736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741F-47C1-9996-DF6877D0736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741F-47C1-9996-DF6877D0736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41F-47C1-9996-DF6877D07366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741F-47C1-9996-DF6877D07366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741F-47C1-9996-DF6877D07366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741F-47C1-9996-DF6877D07366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741F-47C1-9996-DF6877D07366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741F-47C1-9996-DF6877D0736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741F-47C1-9996-DF6877D07366}"/>
                </c:ext>
              </c:extLst>
            </c:dLbl>
            <c:dLbl>
              <c:idx val="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3-741F-47C1-9996-DF6877D0736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5-741F-47C1-9996-DF6877D0736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741F-47C1-9996-DF6877D07366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741F-47C1-9996-DF6877D07366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B-741F-47C1-9996-DF6877D07366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D-741F-47C1-9996-DF6877D07366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F-741F-47C1-9996-DF6877D07366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1-741F-47C1-9996-DF6877D07366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3-741F-47C1-9996-DF6877D07366}"/>
                </c:ext>
              </c:extLst>
            </c:dLbl>
            <c:dLbl>
              <c:idx val="1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1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5-741F-47C1-9996-DF6877D07366}"/>
                </c:ext>
              </c:extLst>
            </c:dLbl>
            <c:dLbl>
              <c:idx val="19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2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7-741F-47C1-9996-DF6877D07366}"/>
                </c:ext>
              </c:extLst>
            </c:dLbl>
            <c:dLbl>
              <c:idx val="2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3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9-741F-47C1-9996-DF6877D07366}"/>
                </c:ext>
              </c:extLst>
            </c:dLbl>
            <c:dLbl>
              <c:idx val="2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4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B-741F-47C1-9996-DF6877D07366}"/>
                </c:ext>
              </c:extLst>
            </c:dLbl>
            <c:dLbl>
              <c:idx val="2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5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D-741F-47C1-9996-DF6877D07366}"/>
                </c:ext>
              </c:extLst>
            </c:dLbl>
            <c:dLbl>
              <c:idx val="2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330" b="1" i="0" u="sng" strike="noStrike" kern="1200" spc="0" baseline="0">
                      <a:solidFill>
                        <a:schemeClr val="accent6">
                          <a:lumMod val="8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bestFit"/>
              <c:showLegendKey val="1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2F-741F-47C1-9996-DF6877D07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sng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1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741F-47C1-9996-DF6877D07366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u="sng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0"/>
    </c:view3D>
    <c:floor>
      <c:thickness val="0"/>
      <c:spPr>
        <a:solidFill>
          <a:schemeClr val="accent1">
            <a:alpha val="30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7916454801487282E-2"/>
          <c:y val="5.9660478663425089E-2"/>
          <c:w val="0.93792021248511792"/>
          <c:h val="0.5939151379666165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1-1504-4AAD-8BCA-155C626759E1}"/>
              </c:ext>
            </c:extLst>
          </c:dPt>
          <c:dPt>
            <c:idx val="1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3-1504-4AAD-8BCA-155C626759E1}"/>
              </c:ext>
            </c:extLst>
          </c:dPt>
          <c:dPt>
            <c:idx val="2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5-1504-4AAD-8BCA-155C626759E1}"/>
              </c:ext>
            </c:extLst>
          </c:dPt>
          <c:dPt>
            <c:idx val="3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7-1504-4AAD-8BCA-155C626759E1}"/>
              </c:ext>
            </c:extLst>
          </c:dPt>
          <c:dPt>
            <c:idx val="4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9-1504-4AAD-8BCA-155C626759E1}"/>
              </c:ext>
            </c:extLst>
          </c:dPt>
          <c:dPt>
            <c:idx val="5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B-1504-4AAD-8BCA-155C626759E1}"/>
              </c:ext>
            </c:extLst>
          </c:dPt>
          <c:dPt>
            <c:idx val="6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D-1504-4AAD-8BCA-155C626759E1}"/>
              </c:ext>
            </c:extLst>
          </c:dPt>
          <c:dPt>
            <c:idx val="7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0F-1504-4AAD-8BCA-155C626759E1}"/>
              </c:ext>
            </c:extLst>
          </c:dPt>
          <c:dPt>
            <c:idx val="8"/>
            <c:invertIfNegative val="0"/>
            <c:bubble3D val="0"/>
            <c:spPr>
              <a:solidFill>
                <a:srgbClr val="F1666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1-1504-4AAD-8BCA-155C626759E1}"/>
              </c:ext>
            </c:extLst>
          </c:dPt>
          <c:dPt>
            <c:idx val="9"/>
            <c:invertIfNegative val="0"/>
            <c:bubble3D val="0"/>
            <c:spPr>
              <a:solidFill>
                <a:srgbClr val="ED1B2F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3-1504-4AAD-8BCA-155C626759E1}"/>
              </c:ext>
            </c:extLst>
          </c:dPt>
          <c:dPt>
            <c:idx val="10"/>
            <c:invertIfNegative val="0"/>
            <c:bubble3D val="0"/>
            <c:spPr>
              <a:solidFill>
                <a:srgbClr val="CF1D39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5-1504-4AAD-8BCA-155C626759E1}"/>
              </c:ext>
            </c:extLst>
          </c:dPt>
          <c:dPt>
            <c:idx val="11"/>
            <c:invertIfNegative val="0"/>
            <c:bubble3D val="0"/>
            <c:spPr>
              <a:solidFill>
                <a:srgbClr val="96013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7-1504-4AAD-8BCA-155C626759E1}"/>
              </c:ext>
            </c:extLst>
          </c:dPt>
          <c:dPt>
            <c:idx val="12"/>
            <c:invertIfNegative val="0"/>
            <c:bubble3D val="0"/>
            <c:spPr>
              <a:solidFill>
                <a:srgbClr val="6DCFF6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9-1504-4AAD-8BCA-155C626759E1}"/>
              </c:ext>
            </c:extLst>
          </c:dPt>
          <c:dPt>
            <c:idx val="13"/>
            <c:invertIfNegative val="0"/>
            <c:bubble3D val="0"/>
            <c:spPr>
              <a:solidFill>
                <a:srgbClr val="009BDB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B-1504-4AAD-8BCA-155C626759E1}"/>
              </c:ext>
            </c:extLst>
          </c:dPt>
          <c:dPt>
            <c:idx val="14"/>
            <c:invertIfNegative val="0"/>
            <c:bubble3D val="0"/>
            <c:spPr>
              <a:solidFill>
                <a:srgbClr val="00619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D-1504-4AAD-8BCA-155C626759E1}"/>
              </c:ext>
            </c:extLst>
          </c:dPt>
          <c:dPt>
            <c:idx val="15"/>
            <c:invertIfNegative val="0"/>
            <c:bubble3D val="0"/>
            <c:spPr>
              <a:solidFill>
                <a:srgbClr val="1E337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1F-1504-4AAD-8BCA-155C626759E1}"/>
              </c:ext>
            </c:extLst>
          </c:dPt>
          <c:dPt>
            <c:idx val="16"/>
            <c:invertIfNegative val="0"/>
            <c:bubble3D val="0"/>
            <c:spPr>
              <a:solidFill>
                <a:srgbClr val="76C8A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1-1504-4AAD-8BCA-155C626759E1}"/>
              </c:ext>
            </c:extLst>
          </c:dPt>
          <c:dPt>
            <c:idx val="17"/>
            <c:invertIfNegative val="0"/>
            <c:bubble3D val="0"/>
            <c:spPr>
              <a:solidFill>
                <a:srgbClr val="00AE9D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3-1504-4AAD-8BCA-155C626759E1}"/>
              </c:ext>
            </c:extLst>
          </c:dPt>
          <c:dPt>
            <c:idx val="18"/>
            <c:invertIfNegative val="0"/>
            <c:bubble3D val="0"/>
            <c:spPr>
              <a:solidFill>
                <a:srgbClr val="008E7A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5-1504-4AAD-8BCA-155C626759E1}"/>
              </c:ext>
            </c:extLst>
          </c:dPt>
          <c:dPt>
            <c:idx val="19"/>
            <c:invertIfNegative val="0"/>
            <c:bubble3D val="0"/>
            <c:spPr>
              <a:solidFill>
                <a:srgbClr val="006762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7-1504-4AAD-8BCA-155C626759E1}"/>
              </c:ext>
            </c:extLst>
          </c:dPt>
          <c:dPt>
            <c:idx val="20"/>
            <c:invertIfNegative val="0"/>
            <c:bubble3D val="0"/>
            <c:spPr>
              <a:solidFill>
                <a:srgbClr val="FFCC4E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9-1504-4AAD-8BCA-155C626759E1}"/>
              </c:ext>
            </c:extLst>
          </c:dPt>
          <c:dPt>
            <c:idx val="21"/>
            <c:invertIfNegative val="0"/>
            <c:bubble3D val="0"/>
            <c:spPr>
              <a:solidFill>
                <a:srgbClr val="FBAB18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B-1504-4AAD-8BCA-155C626759E1}"/>
              </c:ext>
            </c:extLst>
          </c:dPt>
          <c:dPt>
            <c:idx val="22"/>
            <c:invertIfNegative val="0"/>
            <c:bubble3D val="0"/>
            <c:spPr>
              <a:solidFill>
                <a:srgbClr val="F47920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D-1504-4AAD-8BCA-155C626759E1}"/>
              </c:ext>
            </c:extLst>
          </c:dPt>
          <c:dPt>
            <c:idx val="23"/>
            <c:invertIfNegative val="0"/>
            <c:bubble3D val="0"/>
            <c:spPr>
              <a:solidFill>
                <a:srgbClr val="A75534"/>
              </a:solidFill>
              <a:ln>
                <a:noFill/>
              </a:ln>
              <a:effectLst/>
              <a:sp3d/>
            </c:spPr>
            <c:extLst>
              <c:ext xmlns:c16="http://schemas.microsoft.com/office/drawing/2014/chart" uri="{C3380CC4-5D6E-409C-BE32-E72D297353CC}">
                <c16:uniqueId val="{0000002F-1504-4AAD-8BCA-155C626759E1}"/>
              </c:ext>
            </c:extLst>
          </c:dPt>
          <c:cat>
            <c:strRef>
              <c:f>Sheet1!$A$2:$A$25</c:f>
              <c:strCache>
                <c:ptCount val="24"/>
                <c:pt idx="0">
                  <c:v>1st Entry</c:v>
                </c:pt>
                <c:pt idx="1">
                  <c:v>2nd Entry</c:v>
                </c:pt>
                <c:pt idx="2">
                  <c:v>3rd Entry</c:v>
                </c:pt>
                <c:pt idx="3">
                  <c:v>4th Entry</c:v>
                </c:pt>
                <c:pt idx="4">
                  <c:v>5th Entry</c:v>
                </c:pt>
                <c:pt idx="5">
                  <c:v>6th Entry</c:v>
                </c:pt>
                <c:pt idx="6">
                  <c:v>7th Entry</c:v>
                </c:pt>
                <c:pt idx="7">
                  <c:v>8th Entry</c:v>
                </c:pt>
                <c:pt idx="8">
                  <c:v>9th Entry</c:v>
                </c:pt>
                <c:pt idx="9">
                  <c:v>10th Entry</c:v>
                </c:pt>
                <c:pt idx="10">
                  <c:v>11th Entry</c:v>
                </c:pt>
                <c:pt idx="11">
                  <c:v>12th Entry</c:v>
                </c:pt>
                <c:pt idx="12">
                  <c:v>13th Entry</c:v>
                </c:pt>
                <c:pt idx="13">
                  <c:v>14th Entry</c:v>
                </c:pt>
                <c:pt idx="14">
                  <c:v>15th Entry</c:v>
                </c:pt>
                <c:pt idx="15">
                  <c:v>16th Entry</c:v>
                </c:pt>
                <c:pt idx="16">
                  <c:v>17th Entry</c:v>
                </c:pt>
                <c:pt idx="17">
                  <c:v>18th Entry</c:v>
                </c:pt>
                <c:pt idx="18">
                  <c:v>19th Entry</c:v>
                </c:pt>
                <c:pt idx="19">
                  <c:v>20th Entry</c:v>
                </c:pt>
                <c:pt idx="20">
                  <c:v>21th Entry</c:v>
                </c:pt>
                <c:pt idx="21">
                  <c:v>22th Entry</c:v>
                </c:pt>
                <c:pt idx="22">
                  <c:v>23th Entry</c:v>
                </c:pt>
                <c:pt idx="23">
                  <c:v>24th Entry</c:v>
                </c:pt>
              </c:strCache>
            </c:strRef>
          </c:cat>
          <c:val>
            <c:numRef>
              <c:f>Sheet1!$B$2:$B$25</c:f>
              <c:numCache>
                <c:formatCode>General</c:formatCode>
                <c:ptCount val="24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  <c:pt idx="8">
                  <c:v>10</c:v>
                </c:pt>
                <c:pt idx="9">
                  <c:v>10</c:v>
                </c:pt>
                <c:pt idx="10">
                  <c:v>10</c:v>
                </c:pt>
                <c:pt idx="11">
                  <c:v>10</c:v>
                </c:pt>
                <c:pt idx="12">
                  <c:v>10</c:v>
                </c:pt>
                <c:pt idx="13">
                  <c:v>10</c:v>
                </c:pt>
                <c:pt idx="14">
                  <c:v>10</c:v>
                </c:pt>
                <c:pt idx="15">
                  <c:v>10</c:v>
                </c:pt>
                <c:pt idx="16">
                  <c:v>10</c:v>
                </c:pt>
                <c:pt idx="17">
                  <c:v>10</c:v>
                </c:pt>
                <c:pt idx="18">
                  <c:v>10</c:v>
                </c:pt>
                <c:pt idx="19">
                  <c:v>10</c:v>
                </c:pt>
                <c:pt idx="20">
                  <c:v>10</c:v>
                </c:pt>
                <c:pt idx="21">
                  <c:v>10</c:v>
                </c:pt>
                <c:pt idx="22">
                  <c:v>10</c:v>
                </c:pt>
                <c:pt idx="2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1504-4AAD-8BCA-155C626759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gapDepth val="10"/>
        <c:shape val="box"/>
        <c:axId val="1929698128"/>
        <c:axId val="1929700880"/>
        <c:axId val="0"/>
      </c:bar3DChart>
      <c:catAx>
        <c:axId val="19296981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lumMod val="60000"/>
                  <a:lumOff val="4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all" spc="150" normalizeH="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700880"/>
        <c:crosses val="autoZero"/>
        <c:auto val="1"/>
        <c:lblAlgn val="ctr"/>
        <c:lblOffset val="100"/>
        <c:noMultiLvlLbl val="0"/>
      </c:catAx>
      <c:valAx>
        <c:axId val="1929700880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296981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cs:styleClr val="auto"/>
    </cs:fontRef>
    <cs:defRPr sz="133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5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defRPr sz="1197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1197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lumMod val="20000"/>
          <a:lumOff val="80000"/>
        </a:schemeClr>
      </a:solidFill>
      <a:sp3d/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>
      <cs:styleClr val="0"/>
    </cs:fillRef>
    <cs:effectRef idx="0"/>
    <cs:fontRef idx="minor">
      <a:schemeClr val="dk1"/>
    </cs:fontRef>
    <cs:spPr>
      <a:solidFill>
        <a:schemeClr val="phClr">
          <a:alpha val="30000"/>
        </a:schemeClr>
      </a:solidFill>
      <a:sp3d/>
    </cs:spPr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lumMod val="60000"/>
            <a:lumOff val="40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lumMod val="50000"/>
            <a:lumOff val="5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10" Type="http://schemas.openxmlformats.org/officeDocument/2006/relationships/image" Target="../media/image94.svg"/><Relationship Id="rId4" Type="http://schemas.openxmlformats.org/officeDocument/2006/relationships/image" Target="../media/image88.svg"/><Relationship Id="rId9" Type="http://schemas.openxmlformats.org/officeDocument/2006/relationships/image" Target="../media/image93.pn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svg"/><Relationship Id="rId2" Type="http://schemas.openxmlformats.org/officeDocument/2006/relationships/image" Target="../media/image96.svg"/><Relationship Id="rId1" Type="http://schemas.openxmlformats.org/officeDocument/2006/relationships/image" Target="../media/image95.png"/><Relationship Id="rId6" Type="http://schemas.openxmlformats.org/officeDocument/2006/relationships/image" Target="../media/image100.sv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svg"/><Relationship Id="rId4" Type="http://schemas.openxmlformats.org/officeDocument/2006/relationships/image" Target="../media/image98.svg"/><Relationship Id="rId9" Type="http://schemas.openxmlformats.org/officeDocument/2006/relationships/image" Target="../media/image10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svg"/><Relationship Id="rId1" Type="http://schemas.openxmlformats.org/officeDocument/2006/relationships/image" Target="../media/image14.png"/><Relationship Id="rId6" Type="http://schemas.openxmlformats.org/officeDocument/2006/relationships/image" Target="../media/image19.svg"/><Relationship Id="rId5" Type="http://schemas.openxmlformats.org/officeDocument/2006/relationships/image" Target="../media/image18.png"/><Relationship Id="rId10" Type="http://schemas.openxmlformats.org/officeDocument/2006/relationships/image" Target="../media/image23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3" Type="http://schemas.openxmlformats.org/officeDocument/2006/relationships/image" Target="../media/image87.png"/><Relationship Id="rId7" Type="http://schemas.openxmlformats.org/officeDocument/2006/relationships/image" Target="../media/image91.png"/><Relationship Id="rId2" Type="http://schemas.openxmlformats.org/officeDocument/2006/relationships/image" Target="../media/image86.svg"/><Relationship Id="rId1" Type="http://schemas.openxmlformats.org/officeDocument/2006/relationships/image" Target="../media/image85.png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10" Type="http://schemas.openxmlformats.org/officeDocument/2006/relationships/image" Target="../media/image94.svg"/><Relationship Id="rId4" Type="http://schemas.openxmlformats.org/officeDocument/2006/relationships/image" Target="../media/image88.svg"/><Relationship Id="rId9" Type="http://schemas.openxmlformats.org/officeDocument/2006/relationships/image" Target="../media/image93.pn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sv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svg"/><Relationship Id="rId2" Type="http://schemas.openxmlformats.org/officeDocument/2006/relationships/image" Target="../media/image96.svg"/><Relationship Id="rId1" Type="http://schemas.openxmlformats.org/officeDocument/2006/relationships/image" Target="../media/image95.png"/><Relationship Id="rId6" Type="http://schemas.openxmlformats.org/officeDocument/2006/relationships/image" Target="../media/image100.sv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svg"/><Relationship Id="rId4" Type="http://schemas.openxmlformats.org/officeDocument/2006/relationships/image" Target="../media/image98.svg"/><Relationship Id="rId9" Type="http://schemas.openxmlformats.org/officeDocument/2006/relationships/image" Target="../media/image10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5BE6BF5-1CFC-4C16-AA04-472B0C022565}" type="doc">
      <dgm:prSet loTypeId="urn:microsoft.com/office/officeart/2018/5/layout/IconLeaf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DE3AFC7-9B3E-428F-AB99-24627376B813}">
      <dgm:prSet/>
      <dgm:spPr/>
      <dgm:t>
        <a:bodyPr/>
        <a:lstStyle/>
        <a:p>
          <a:pPr>
            <a:defRPr cap="all"/>
          </a:pPr>
          <a:r>
            <a:rPr lang="en-GB">
              <a:solidFill>
                <a:schemeClr val="bg1"/>
              </a:solidFill>
            </a:rPr>
            <a:t>Discovery – how and what</a:t>
          </a:r>
          <a:endParaRPr lang="en-US">
            <a:solidFill>
              <a:schemeClr val="bg1"/>
            </a:solidFill>
          </a:endParaRPr>
        </a:p>
      </dgm:t>
    </dgm:pt>
    <dgm:pt modelId="{B7D3E9F9-96E4-48C3-98EC-0DF8FFC26199}" type="parTrans" cxnId="{B4D94434-F798-4684-8F9A-0EE3B25953F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876AE80-8B76-4CFE-98E9-648A9CA4B90B}" type="sibTrans" cxnId="{B4D94434-F798-4684-8F9A-0EE3B25953FC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0CF1A53-1942-4C38-96D7-26DD1856E441}">
      <dgm:prSet/>
      <dgm:spPr/>
      <dgm:t>
        <a:bodyPr/>
        <a:lstStyle/>
        <a:p>
          <a:pPr>
            <a:defRPr cap="all"/>
          </a:pPr>
          <a:r>
            <a:rPr lang="en-GB">
              <a:solidFill>
                <a:schemeClr val="bg1"/>
              </a:solidFill>
            </a:rPr>
            <a:t>Access Policy – authentication and authorisation</a:t>
          </a:r>
          <a:endParaRPr lang="en-US">
            <a:solidFill>
              <a:schemeClr val="bg1"/>
            </a:solidFill>
          </a:endParaRPr>
        </a:p>
      </dgm:t>
    </dgm:pt>
    <dgm:pt modelId="{FBBA320F-B1D3-4180-978D-C1C8AC58DE52}" type="parTrans" cxnId="{64D8FC6F-B821-4837-BAF8-00F66F54CB2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0C36825-BDC3-4489-BF1D-60908568E100}" type="sibTrans" cxnId="{64D8FC6F-B821-4837-BAF8-00F66F54CB23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A0F6DD1-37E5-4937-B6BB-8E3C55AA20AC}">
      <dgm:prSet/>
      <dgm:spPr/>
      <dgm:t>
        <a:bodyPr/>
        <a:lstStyle/>
        <a:p>
          <a:pPr>
            <a:defRPr cap="all"/>
          </a:pPr>
          <a:r>
            <a:rPr lang="en-GB">
              <a:solidFill>
                <a:schemeClr val="bg1"/>
              </a:solidFill>
            </a:rPr>
            <a:t>Services offering</a:t>
          </a:r>
          <a:endParaRPr lang="en-US">
            <a:solidFill>
              <a:schemeClr val="bg1"/>
            </a:solidFill>
          </a:endParaRPr>
        </a:p>
      </dgm:t>
    </dgm:pt>
    <dgm:pt modelId="{35020A2C-60F1-4BAB-AF7B-964B4949DC12}" type="parTrans" cxnId="{736B3FA8-ED73-4C05-9CC8-FB847D37BBD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4825A4E-4F27-4CDB-BC63-15E060162E09}" type="sibTrans" cxnId="{736B3FA8-ED73-4C05-9CC8-FB847D37BBD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A1453D4-CDF6-4A99-A7DA-2ED4B60AE0C7}">
      <dgm:prSet/>
      <dgm:spPr/>
      <dgm:t>
        <a:bodyPr/>
        <a:lstStyle/>
        <a:p>
          <a:pPr>
            <a:defRPr cap="all"/>
          </a:pPr>
          <a:r>
            <a:rPr lang="en-GB">
              <a:solidFill>
                <a:schemeClr val="bg1"/>
              </a:solidFill>
            </a:rPr>
            <a:t>Evolution </a:t>
          </a:r>
          <a:endParaRPr lang="en-US">
            <a:solidFill>
              <a:schemeClr val="bg1"/>
            </a:solidFill>
          </a:endParaRPr>
        </a:p>
      </dgm:t>
    </dgm:pt>
    <dgm:pt modelId="{8009C127-A3B8-4049-9A7A-13F010E2E409}" type="parTrans" cxnId="{280DF2B7-4758-45B3-AA4E-B3916AF81D3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FCC461D-DE46-47D5-8C1C-437BD1BE14B6}" type="sibTrans" cxnId="{280DF2B7-4758-45B3-AA4E-B3916AF81D3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D93D3512-8C8B-4CD9-8B6F-A6CF7B4C380D}">
      <dgm:prSet/>
      <dgm:spPr/>
      <dgm:t>
        <a:bodyPr/>
        <a:lstStyle/>
        <a:p>
          <a:pPr>
            <a:defRPr cap="all"/>
          </a:pPr>
          <a:r>
            <a:rPr lang="en-GB">
              <a:solidFill>
                <a:schemeClr val="bg1"/>
              </a:solidFill>
            </a:rPr>
            <a:t>What next </a:t>
          </a:r>
          <a:endParaRPr lang="en-US">
            <a:solidFill>
              <a:schemeClr val="bg1"/>
            </a:solidFill>
          </a:endParaRPr>
        </a:p>
      </dgm:t>
    </dgm:pt>
    <dgm:pt modelId="{600DAEFE-A7C2-4576-841B-792678DF441B}" type="parTrans" cxnId="{E91ED642-DAF7-460B-8D64-B4388809CD9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95B09595-CEE8-42F7-BF5F-5BEF119E8825}" type="sibTrans" cxnId="{E91ED642-DAF7-460B-8D64-B4388809CD9D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C5A4C73F-DDC9-4485-A53D-F6B210132C86}" type="pres">
      <dgm:prSet presAssocID="{B5BE6BF5-1CFC-4C16-AA04-472B0C022565}" presName="root" presStyleCnt="0">
        <dgm:presLayoutVars>
          <dgm:dir/>
          <dgm:resizeHandles val="exact"/>
        </dgm:presLayoutVars>
      </dgm:prSet>
      <dgm:spPr/>
    </dgm:pt>
    <dgm:pt modelId="{57B235B9-1F2D-4FC1-B06C-70C2CBD34FB4}" type="pres">
      <dgm:prSet presAssocID="{4DE3AFC7-9B3E-428F-AB99-24627376B813}" presName="compNode" presStyleCnt="0"/>
      <dgm:spPr/>
    </dgm:pt>
    <dgm:pt modelId="{BC66DAC5-495D-4DB1-9F43-299BE1FFE047}" type="pres">
      <dgm:prSet presAssocID="{4DE3AFC7-9B3E-428F-AB99-24627376B813}" presName="iconBgRect" presStyleLbl="bgShp" presStyleIdx="0" presStyleCnt="5"/>
      <dgm:spPr>
        <a:prstGeom prst="round2DiagRect">
          <a:avLst>
            <a:gd name="adj1" fmla="val 29727"/>
            <a:gd name="adj2" fmla="val 0"/>
          </a:avLst>
        </a:prstGeom>
      </dgm:spPr>
    </dgm:pt>
    <dgm:pt modelId="{CE500957-9AE1-4161-B65F-BE15F65ED582}" type="pres">
      <dgm:prSet presAssocID="{4DE3AFC7-9B3E-428F-AB99-24627376B813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gnifying glass"/>
        </a:ext>
      </dgm:extLst>
    </dgm:pt>
    <dgm:pt modelId="{4AC4C07B-3321-4F6A-AC37-B95CA3CE01B6}" type="pres">
      <dgm:prSet presAssocID="{4DE3AFC7-9B3E-428F-AB99-24627376B813}" presName="spaceRect" presStyleCnt="0"/>
      <dgm:spPr/>
    </dgm:pt>
    <dgm:pt modelId="{FB27CD86-08B3-4FA5-BE32-9E3FD84E3627}" type="pres">
      <dgm:prSet presAssocID="{4DE3AFC7-9B3E-428F-AB99-24627376B813}" presName="textRect" presStyleLbl="revTx" presStyleIdx="0" presStyleCnt="5">
        <dgm:presLayoutVars>
          <dgm:chMax val="1"/>
          <dgm:chPref val="1"/>
        </dgm:presLayoutVars>
      </dgm:prSet>
      <dgm:spPr/>
    </dgm:pt>
    <dgm:pt modelId="{B00E35FC-25D9-45AD-9893-19A2BA6B43C9}" type="pres">
      <dgm:prSet presAssocID="{3876AE80-8B76-4CFE-98E9-648A9CA4B90B}" presName="sibTrans" presStyleCnt="0"/>
      <dgm:spPr/>
    </dgm:pt>
    <dgm:pt modelId="{A84A3074-D242-4207-BE91-318407A63F5C}" type="pres">
      <dgm:prSet presAssocID="{B0CF1A53-1942-4C38-96D7-26DD1856E441}" presName="compNode" presStyleCnt="0"/>
      <dgm:spPr/>
    </dgm:pt>
    <dgm:pt modelId="{7F7FC117-31B6-45E6-9192-EE4AF9F5B4AC}" type="pres">
      <dgm:prSet presAssocID="{B0CF1A53-1942-4C38-96D7-26DD1856E441}" presName="iconBgRect" presStyleLbl="bgShp" presStyleIdx="1" presStyleCnt="5"/>
      <dgm:spPr>
        <a:prstGeom prst="round2DiagRect">
          <a:avLst>
            <a:gd name="adj1" fmla="val 29727"/>
            <a:gd name="adj2" fmla="val 0"/>
          </a:avLst>
        </a:prstGeom>
      </dgm:spPr>
    </dgm:pt>
    <dgm:pt modelId="{E79016C7-032E-465C-97E0-B96370DA26A0}" type="pres">
      <dgm:prSet presAssocID="{B0CF1A53-1942-4C38-96D7-26DD1856E441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Key"/>
        </a:ext>
      </dgm:extLst>
    </dgm:pt>
    <dgm:pt modelId="{B4DA8534-C584-45DC-8BF6-187E3344F012}" type="pres">
      <dgm:prSet presAssocID="{B0CF1A53-1942-4C38-96D7-26DD1856E441}" presName="spaceRect" presStyleCnt="0"/>
      <dgm:spPr/>
    </dgm:pt>
    <dgm:pt modelId="{6338DADC-B556-4A94-84FA-BA1E9A4AD227}" type="pres">
      <dgm:prSet presAssocID="{B0CF1A53-1942-4C38-96D7-26DD1856E441}" presName="textRect" presStyleLbl="revTx" presStyleIdx="1" presStyleCnt="5">
        <dgm:presLayoutVars>
          <dgm:chMax val="1"/>
          <dgm:chPref val="1"/>
        </dgm:presLayoutVars>
      </dgm:prSet>
      <dgm:spPr/>
    </dgm:pt>
    <dgm:pt modelId="{3315FA93-000A-4505-A818-6188BA536871}" type="pres">
      <dgm:prSet presAssocID="{70C36825-BDC3-4489-BF1D-60908568E100}" presName="sibTrans" presStyleCnt="0"/>
      <dgm:spPr/>
    </dgm:pt>
    <dgm:pt modelId="{25C6A401-A867-464E-B2BA-C0F2AEAA575C}" type="pres">
      <dgm:prSet presAssocID="{CA0F6DD1-37E5-4937-B6BB-8E3C55AA20AC}" presName="compNode" presStyleCnt="0"/>
      <dgm:spPr/>
    </dgm:pt>
    <dgm:pt modelId="{39B8ACA1-7E36-46C4-B0A6-51780A37349C}" type="pres">
      <dgm:prSet presAssocID="{CA0F6DD1-37E5-4937-B6BB-8E3C55AA20AC}" presName="iconBgRect" presStyleLbl="bgShp" presStyleIdx="2" presStyleCnt="5"/>
      <dgm:spPr>
        <a:prstGeom prst="round2DiagRect">
          <a:avLst>
            <a:gd name="adj1" fmla="val 29727"/>
            <a:gd name="adj2" fmla="val 0"/>
          </a:avLst>
        </a:prstGeom>
      </dgm:spPr>
    </dgm:pt>
    <dgm:pt modelId="{7617CEFD-5BB8-4386-BD73-2832B0F609E7}" type="pres">
      <dgm:prSet presAssocID="{CA0F6DD1-37E5-4937-B6BB-8E3C55AA20AC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59B300DA-4F6A-4206-A2E1-4BC9747669CB}" type="pres">
      <dgm:prSet presAssocID="{CA0F6DD1-37E5-4937-B6BB-8E3C55AA20AC}" presName="spaceRect" presStyleCnt="0"/>
      <dgm:spPr/>
    </dgm:pt>
    <dgm:pt modelId="{4C37335C-77E5-4AB2-AEC3-CAC816605CDC}" type="pres">
      <dgm:prSet presAssocID="{CA0F6DD1-37E5-4937-B6BB-8E3C55AA20AC}" presName="textRect" presStyleLbl="revTx" presStyleIdx="2" presStyleCnt="5">
        <dgm:presLayoutVars>
          <dgm:chMax val="1"/>
          <dgm:chPref val="1"/>
        </dgm:presLayoutVars>
      </dgm:prSet>
      <dgm:spPr/>
    </dgm:pt>
    <dgm:pt modelId="{F4E175BC-D560-43E2-9C04-5666455AB851}" type="pres">
      <dgm:prSet presAssocID="{B4825A4E-4F27-4CDB-BC63-15E060162E09}" presName="sibTrans" presStyleCnt="0"/>
      <dgm:spPr/>
    </dgm:pt>
    <dgm:pt modelId="{98897C8C-4533-4FFA-B1A3-58817B571BA3}" type="pres">
      <dgm:prSet presAssocID="{5A1453D4-CDF6-4A99-A7DA-2ED4B60AE0C7}" presName="compNode" presStyleCnt="0"/>
      <dgm:spPr/>
    </dgm:pt>
    <dgm:pt modelId="{A62EBD27-E3D1-4755-B6B6-A9DD2A563CCD}" type="pres">
      <dgm:prSet presAssocID="{5A1453D4-CDF6-4A99-A7DA-2ED4B60AE0C7}" presName="iconBgRect" presStyleLbl="bgShp" presStyleIdx="3" presStyleCnt="5"/>
      <dgm:spPr>
        <a:prstGeom prst="round2DiagRect">
          <a:avLst>
            <a:gd name="adj1" fmla="val 29727"/>
            <a:gd name="adj2" fmla="val 0"/>
          </a:avLst>
        </a:prstGeom>
      </dgm:spPr>
    </dgm:pt>
    <dgm:pt modelId="{0A6317F6-D6F9-40A2-9021-993339EC43C4}" type="pres">
      <dgm:prSet presAssocID="{5A1453D4-CDF6-4A99-A7DA-2ED4B60AE0C7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ircular Flowchart"/>
        </a:ext>
      </dgm:extLst>
    </dgm:pt>
    <dgm:pt modelId="{4537A31D-8587-4EE1-853A-5BEE280C76EE}" type="pres">
      <dgm:prSet presAssocID="{5A1453D4-CDF6-4A99-A7DA-2ED4B60AE0C7}" presName="spaceRect" presStyleCnt="0"/>
      <dgm:spPr/>
    </dgm:pt>
    <dgm:pt modelId="{06B1043F-F488-4264-A5B6-7DFB527C2011}" type="pres">
      <dgm:prSet presAssocID="{5A1453D4-CDF6-4A99-A7DA-2ED4B60AE0C7}" presName="textRect" presStyleLbl="revTx" presStyleIdx="3" presStyleCnt="5">
        <dgm:presLayoutVars>
          <dgm:chMax val="1"/>
          <dgm:chPref val="1"/>
        </dgm:presLayoutVars>
      </dgm:prSet>
      <dgm:spPr/>
    </dgm:pt>
    <dgm:pt modelId="{E81F9E0C-5FAE-4E46-BF0E-B8D98D6418CA}" type="pres">
      <dgm:prSet presAssocID="{0FCC461D-DE46-47D5-8C1C-437BD1BE14B6}" presName="sibTrans" presStyleCnt="0"/>
      <dgm:spPr/>
    </dgm:pt>
    <dgm:pt modelId="{FEDBCD4C-3D49-4AD5-BA5C-F36C74243875}" type="pres">
      <dgm:prSet presAssocID="{D93D3512-8C8B-4CD9-8B6F-A6CF7B4C380D}" presName="compNode" presStyleCnt="0"/>
      <dgm:spPr/>
    </dgm:pt>
    <dgm:pt modelId="{AD206AB6-2C48-43F8-8872-FD58D099B02A}" type="pres">
      <dgm:prSet presAssocID="{D93D3512-8C8B-4CD9-8B6F-A6CF7B4C380D}" presName="iconBgRect" presStyleLbl="bgShp" presStyleIdx="4" presStyleCnt="5"/>
      <dgm:spPr>
        <a:prstGeom prst="round2DiagRect">
          <a:avLst>
            <a:gd name="adj1" fmla="val 29727"/>
            <a:gd name="adj2" fmla="val 0"/>
          </a:avLst>
        </a:prstGeom>
      </dgm:spPr>
    </dgm:pt>
    <dgm:pt modelId="{E24C1472-9097-4FB2-89DE-8241604917D1}" type="pres">
      <dgm:prSet presAssocID="{D93D3512-8C8B-4CD9-8B6F-A6CF7B4C380D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BE0329C0-C07D-41E5-8944-0959A73A7DA5}" type="pres">
      <dgm:prSet presAssocID="{D93D3512-8C8B-4CD9-8B6F-A6CF7B4C380D}" presName="spaceRect" presStyleCnt="0"/>
      <dgm:spPr/>
    </dgm:pt>
    <dgm:pt modelId="{481A2124-130E-454A-A012-27CD52B0FD41}" type="pres">
      <dgm:prSet presAssocID="{D93D3512-8C8B-4CD9-8B6F-A6CF7B4C380D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4345172C-6BC9-42B7-8AB8-F5D3B534A2D9}" type="presOf" srcId="{4DE3AFC7-9B3E-428F-AB99-24627376B813}" destId="{FB27CD86-08B3-4FA5-BE32-9E3FD84E3627}" srcOrd="0" destOrd="0" presId="urn:microsoft.com/office/officeart/2018/5/layout/IconLeafLabelList"/>
    <dgm:cxn modelId="{B4D94434-F798-4684-8F9A-0EE3B25953FC}" srcId="{B5BE6BF5-1CFC-4C16-AA04-472B0C022565}" destId="{4DE3AFC7-9B3E-428F-AB99-24627376B813}" srcOrd="0" destOrd="0" parTransId="{B7D3E9F9-96E4-48C3-98EC-0DF8FFC26199}" sibTransId="{3876AE80-8B76-4CFE-98E9-648A9CA4B90B}"/>
    <dgm:cxn modelId="{5846185B-95C5-4777-8234-85513442270F}" type="presOf" srcId="{CA0F6DD1-37E5-4937-B6BB-8E3C55AA20AC}" destId="{4C37335C-77E5-4AB2-AEC3-CAC816605CDC}" srcOrd="0" destOrd="0" presId="urn:microsoft.com/office/officeart/2018/5/layout/IconLeafLabelList"/>
    <dgm:cxn modelId="{E91ED642-DAF7-460B-8D64-B4388809CD9D}" srcId="{B5BE6BF5-1CFC-4C16-AA04-472B0C022565}" destId="{D93D3512-8C8B-4CD9-8B6F-A6CF7B4C380D}" srcOrd="4" destOrd="0" parTransId="{600DAEFE-A7C2-4576-841B-792678DF441B}" sibTransId="{95B09595-CEE8-42F7-BF5F-5BEF119E8825}"/>
    <dgm:cxn modelId="{64D8FC6F-B821-4837-BAF8-00F66F54CB23}" srcId="{B5BE6BF5-1CFC-4C16-AA04-472B0C022565}" destId="{B0CF1A53-1942-4C38-96D7-26DD1856E441}" srcOrd="1" destOrd="0" parTransId="{FBBA320F-B1D3-4180-978D-C1C8AC58DE52}" sibTransId="{70C36825-BDC3-4489-BF1D-60908568E100}"/>
    <dgm:cxn modelId="{69FA5473-C17C-4BAA-984F-7D85E569851E}" type="presOf" srcId="{B0CF1A53-1942-4C38-96D7-26DD1856E441}" destId="{6338DADC-B556-4A94-84FA-BA1E9A4AD227}" srcOrd="0" destOrd="0" presId="urn:microsoft.com/office/officeart/2018/5/layout/IconLeafLabelList"/>
    <dgm:cxn modelId="{CF89AA9E-6C83-444E-AC32-0E2E7EBB2D32}" type="presOf" srcId="{5A1453D4-CDF6-4A99-A7DA-2ED4B60AE0C7}" destId="{06B1043F-F488-4264-A5B6-7DFB527C2011}" srcOrd="0" destOrd="0" presId="urn:microsoft.com/office/officeart/2018/5/layout/IconLeafLabelList"/>
    <dgm:cxn modelId="{736B3FA8-ED73-4C05-9CC8-FB847D37BBDF}" srcId="{B5BE6BF5-1CFC-4C16-AA04-472B0C022565}" destId="{CA0F6DD1-37E5-4937-B6BB-8E3C55AA20AC}" srcOrd="2" destOrd="0" parTransId="{35020A2C-60F1-4BAB-AF7B-964B4949DC12}" sibTransId="{B4825A4E-4F27-4CDB-BC63-15E060162E09}"/>
    <dgm:cxn modelId="{280DF2B7-4758-45B3-AA4E-B3916AF81D31}" srcId="{B5BE6BF5-1CFC-4C16-AA04-472B0C022565}" destId="{5A1453D4-CDF6-4A99-A7DA-2ED4B60AE0C7}" srcOrd="3" destOrd="0" parTransId="{8009C127-A3B8-4049-9A7A-13F010E2E409}" sibTransId="{0FCC461D-DE46-47D5-8C1C-437BD1BE14B6}"/>
    <dgm:cxn modelId="{0AFEE9C2-ECDD-4577-83B4-60B989C272A0}" type="presOf" srcId="{D93D3512-8C8B-4CD9-8B6F-A6CF7B4C380D}" destId="{481A2124-130E-454A-A012-27CD52B0FD41}" srcOrd="0" destOrd="0" presId="urn:microsoft.com/office/officeart/2018/5/layout/IconLeafLabelList"/>
    <dgm:cxn modelId="{0B177DF2-A46B-4024-AE5B-D29682C5FC61}" type="presOf" srcId="{B5BE6BF5-1CFC-4C16-AA04-472B0C022565}" destId="{C5A4C73F-DDC9-4485-A53D-F6B210132C86}" srcOrd="0" destOrd="0" presId="urn:microsoft.com/office/officeart/2018/5/layout/IconLeafLabelList"/>
    <dgm:cxn modelId="{264CC14A-F620-4CD7-9F5B-A5BB17AEC1CC}" type="presParOf" srcId="{C5A4C73F-DDC9-4485-A53D-F6B210132C86}" destId="{57B235B9-1F2D-4FC1-B06C-70C2CBD34FB4}" srcOrd="0" destOrd="0" presId="urn:microsoft.com/office/officeart/2018/5/layout/IconLeafLabelList"/>
    <dgm:cxn modelId="{B76904AF-E1F0-4272-826A-EA1214148604}" type="presParOf" srcId="{57B235B9-1F2D-4FC1-B06C-70C2CBD34FB4}" destId="{BC66DAC5-495D-4DB1-9F43-299BE1FFE047}" srcOrd="0" destOrd="0" presId="urn:microsoft.com/office/officeart/2018/5/layout/IconLeafLabelList"/>
    <dgm:cxn modelId="{C4B03874-9AA8-42A7-B2E8-9FBD59ADF22C}" type="presParOf" srcId="{57B235B9-1F2D-4FC1-B06C-70C2CBD34FB4}" destId="{CE500957-9AE1-4161-B65F-BE15F65ED582}" srcOrd="1" destOrd="0" presId="urn:microsoft.com/office/officeart/2018/5/layout/IconLeafLabelList"/>
    <dgm:cxn modelId="{CA352A2A-23D9-4FE6-B412-663891104A1D}" type="presParOf" srcId="{57B235B9-1F2D-4FC1-B06C-70C2CBD34FB4}" destId="{4AC4C07B-3321-4F6A-AC37-B95CA3CE01B6}" srcOrd="2" destOrd="0" presId="urn:microsoft.com/office/officeart/2018/5/layout/IconLeafLabelList"/>
    <dgm:cxn modelId="{E3196AAC-DE2F-4A22-B9EE-7F1DB80EE851}" type="presParOf" srcId="{57B235B9-1F2D-4FC1-B06C-70C2CBD34FB4}" destId="{FB27CD86-08B3-4FA5-BE32-9E3FD84E3627}" srcOrd="3" destOrd="0" presId="urn:microsoft.com/office/officeart/2018/5/layout/IconLeafLabelList"/>
    <dgm:cxn modelId="{91C19429-E1EA-4772-B5DF-BFF3912C3A87}" type="presParOf" srcId="{C5A4C73F-DDC9-4485-A53D-F6B210132C86}" destId="{B00E35FC-25D9-45AD-9893-19A2BA6B43C9}" srcOrd="1" destOrd="0" presId="urn:microsoft.com/office/officeart/2018/5/layout/IconLeafLabelList"/>
    <dgm:cxn modelId="{ECF72F05-FF80-402D-BCF7-062C0A138AF7}" type="presParOf" srcId="{C5A4C73F-DDC9-4485-A53D-F6B210132C86}" destId="{A84A3074-D242-4207-BE91-318407A63F5C}" srcOrd="2" destOrd="0" presId="urn:microsoft.com/office/officeart/2018/5/layout/IconLeafLabelList"/>
    <dgm:cxn modelId="{C09686F8-6A46-442B-935C-7AC0A5B5EC73}" type="presParOf" srcId="{A84A3074-D242-4207-BE91-318407A63F5C}" destId="{7F7FC117-31B6-45E6-9192-EE4AF9F5B4AC}" srcOrd="0" destOrd="0" presId="urn:microsoft.com/office/officeart/2018/5/layout/IconLeafLabelList"/>
    <dgm:cxn modelId="{6B50A4B9-4C1B-4B41-A940-726BCEE342A4}" type="presParOf" srcId="{A84A3074-D242-4207-BE91-318407A63F5C}" destId="{E79016C7-032E-465C-97E0-B96370DA26A0}" srcOrd="1" destOrd="0" presId="urn:microsoft.com/office/officeart/2018/5/layout/IconLeafLabelList"/>
    <dgm:cxn modelId="{AE5C6022-F8B8-4E62-944F-F18A8026C28D}" type="presParOf" srcId="{A84A3074-D242-4207-BE91-318407A63F5C}" destId="{B4DA8534-C584-45DC-8BF6-187E3344F012}" srcOrd="2" destOrd="0" presId="urn:microsoft.com/office/officeart/2018/5/layout/IconLeafLabelList"/>
    <dgm:cxn modelId="{9DFB67C3-C795-4FB1-9B22-AB818E433144}" type="presParOf" srcId="{A84A3074-D242-4207-BE91-318407A63F5C}" destId="{6338DADC-B556-4A94-84FA-BA1E9A4AD227}" srcOrd="3" destOrd="0" presId="urn:microsoft.com/office/officeart/2018/5/layout/IconLeafLabelList"/>
    <dgm:cxn modelId="{6B4EFEA8-C312-46DC-8EDB-95C3CABEC21E}" type="presParOf" srcId="{C5A4C73F-DDC9-4485-A53D-F6B210132C86}" destId="{3315FA93-000A-4505-A818-6188BA536871}" srcOrd="3" destOrd="0" presId="urn:microsoft.com/office/officeart/2018/5/layout/IconLeafLabelList"/>
    <dgm:cxn modelId="{A0400E94-198C-42FD-B909-A7301EF2A648}" type="presParOf" srcId="{C5A4C73F-DDC9-4485-A53D-F6B210132C86}" destId="{25C6A401-A867-464E-B2BA-C0F2AEAA575C}" srcOrd="4" destOrd="0" presId="urn:microsoft.com/office/officeart/2018/5/layout/IconLeafLabelList"/>
    <dgm:cxn modelId="{F2783B92-4ACE-4AB2-90B8-4F8C58DF156F}" type="presParOf" srcId="{25C6A401-A867-464E-B2BA-C0F2AEAA575C}" destId="{39B8ACA1-7E36-46C4-B0A6-51780A37349C}" srcOrd="0" destOrd="0" presId="urn:microsoft.com/office/officeart/2018/5/layout/IconLeafLabelList"/>
    <dgm:cxn modelId="{51ABBEC1-2878-4D4A-8956-99BE642ABCB6}" type="presParOf" srcId="{25C6A401-A867-464E-B2BA-C0F2AEAA575C}" destId="{7617CEFD-5BB8-4386-BD73-2832B0F609E7}" srcOrd="1" destOrd="0" presId="urn:microsoft.com/office/officeart/2018/5/layout/IconLeafLabelList"/>
    <dgm:cxn modelId="{649460D1-4B57-487C-9DDC-197846985EA3}" type="presParOf" srcId="{25C6A401-A867-464E-B2BA-C0F2AEAA575C}" destId="{59B300DA-4F6A-4206-A2E1-4BC9747669CB}" srcOrd="2" destOrd="0" presId="urn:microsoft.com/office/officeart/2018/5/layout/IconLeafLabelList"/>
    <dgm:cxn modelId="{E3F9DEAC-6072-46C6-A4DD-CAE6E4A5F4A2}" type="presParOf" srcId="{25C6A401-A867-464E-B2BA-C0F2AEAA575C}" destId="{4C37335C-77E5-4AB2-AEC3-CAC816605CDC}" srcOrd="3" destOrd="0" presId="urn:microsoft.com/office/officeart/2018/5/layout/IconLeafLabelList"/>
    <dgm:cxn modelId="{1EF2A7C6-88DB-440A-B09B-343D32FC9616}" type="presParOf" srcId="{C5A4C73F-DDC9-4485-A53D-F6B210132C86}" destId="{F4E175BC-D560-43E2-9C04-5666455AB851}" srcOrd="5" destOrd="0" presId="urn:microsoft.com/office/officeart/2018/5/layout/IconLeafLabelList"/>
    <dgm:cxn modelId="{8CA59396-63D2-4786-B2C3-BEC22569C0A9}" type="presParOf" srcId="{C5A4C73F-DDC9-4485-A53D-F6B210132C86}" destId="{98897C8C-4533-4FFA-B1A3-58817B571BA3}" srcOrd="6" destOrd="0" presId="urn:microsoft.com/office/officeart/2018/5/layout/IconLeafLabelList"/>
    <dgm:cxn modelId="{6D08868B-47C7-4281-BB5B-3705E875832E}" type="presParOf" srcId="{98897C8C-4533-4FFA-B1A3-58817B571BA3}" destId="{A62EBD27-E3D1-4755-B6B6-A9DD2A563CCD}" srcOrd="0" destOrd="0" presId="urn:microsoft.com/office/officeart/2018/5/layout/IconLeafLabelList"/>
    <dgm:cxn modelId="{B90FFE67-F6A7-449D-B693-BE2EB7E084E6}" type="presParOf" srcId="{98897C8C-4533-4FFA-B1A3-58817B571BA3}" destId="{0A6317F6-D6F9-40A2-9021-993339EC43C4}" srcOrd="1" destOrd="0" presId="urn:microsoft.com/office/officeart/2018/5/layout/IconLeafLabelList"/>
    <dgm:cxn modelId="{FD3B9160-A120-4F8B-B192-5566506F4EDE}" type="presParOf" srcId="{98897C8C-4533-4FFA-B1A3-58817B571BA3}" destId="{4537A31D-8587-4EE1-853A-5BEE280C76EE}" srcOrd="2" destOrd="0" presId="urn:microsoft.com/office/officeart/2018/5/layout/IconLeafLabelList"/>
    <dgm:cxn modelId="{31474792-8B94-469E-B99A-0A5ABF326341}" type="presParOf" srcId="{98897C8C-4533-4FFA-B1A3-58817B571BA3}" destId="{06B1043F-F488-4264-A5B6-7DFB527C2011}" srcOrd="3" destOrd="0" presId="urn:microsoft.com/office/officeart/2018/5/layout/IconLeafLabelList"/>
    <dgm:cxn modelId="{BFC5AE61-842A-418E-9630-C8F6B398FE54}" type="presParOf" srcId="{C5A4C73F-DDC9-4485-A53D-F6B210132C86}" destId="{E81F9E0C-5FAE-4E46-BF0E-B8D98D6418CA}" srcOrd="7" destOrd="0" presId="urn:microsoft.com/office/officeart/2018/5/layout/IconLeafLabelList"/>
    <dgm:cxn modelId="{485B1709-29D4-4FA0-ABE8-0C63FFBDA35F}" type="presParOf" srcId="{C5A4C73F-DDC9-4485-A53D-F6B210132C86}" destId="{FEDBCD4C-3D49-4AD5-BA5C-F36C74243875}" srcOrd="8" destOrd="0" presId="urn:microsoft.com/office/officeart/2018/5/layout/IconLeafLabelList"/>
    <dgm:cxn modelId="{DA8F8F2D-5922-474E-A7D0-592304AF92B1}" type="presParOf" srcId="{FEDBCD4C-3D49-4AD5-BA5C-F36C74243875}" destId="{AD206AB6-2C48-43F8-8872-FD58D099B02A}" srcOrd="0" destOrd="0" presId="urn:microsoft.com/office/officeart/2018/5/layout/IconLeafLabelList"/>
    <dgm:cxn modelId="{F1DA8775-FD69-4F95-B6EC-DA3DE29027D1}" type="presParOf" srcId="{FEDBCD4C-3D49-4AD5-BA5C-F36C74243875}" destId="{E24C1472-9097-4FB2-89DE-8241604917D1}" srcOrd="1" destOrd="0" presId="urn:microsoft.com/office/officeart/2018/5/layout/IconLeafLabelList"/>
    <dgm:cxn modelId="{5836A801-82BA-41A6-9C66-AFBE9B6735AD}" type="presParOf" srcId="{FEDBCD4C-3D49-4AD5-BA5C-F36C74243875}" destId="{BE0329C0-C07D-41E5-8944-0959A73A7DA5}" srcOrd="2" destOrd="0" presId="urn:microsoft.com/office/officeart/2018/5/layout/IconLeafLabelList"/>
    <dgm:cxn modelId="{44A53A1C-F186-4053-ACE3-8896125866BA}" type="presParOf" srcId="{FEDBCD4C-3D49-4AD5-BA5C-F36C74243875}" destId="{481A2124-130E-454A-A012-27CD52B0FD41}" srcOrd="3" destOrd="0" presId="urn:microsoft.com/office/officeart/2018/5/layout/IconLeaf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E264FB-92F6-40F6-A93E-6466BADD0D5D}" type="doc">
      <dgm:prSet loTypeId="urn:microsoft.com/office/officeart/2016/7/layout/VerticalSolidAction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3AE7012-133B-4C01-9405-E41643017BCE}">
      <dgm:prSet custT="1"/>
      <dgm:spPr/>
      <dgm:t>
        <a:bodyPr/>
        <a:lstStyle/>
        <a:p>
          <a:r>
            <a:rPr lang="en-US" sz="1600"/>
            <a:t>IMPROVE</a:t>
          </a:r>
        </a:p>
      </dgm:t>
    </dgm:pt>
    <dgm:pt modelId="{07519ABD-48AF-4DCA-A20D-67D45FCDF446}" type="parTrans" cxnId="{95BAFB5B-4EFB-434C-A27E-783494A6A3AF}">
      <dgm:prSet/>
      <dgm:spPr/>
      <dgm:t>
        <a:bodyPr/>
        <a:lstStyle/>
        <a:p>
          <a:endParaRPr lang="en-US"/>
        </a:p>
      </dgm:t>
    </dgm:pt>
    <dgm:pt modelId="{F2F96F8A-5DAD-4848-B1E7-3C5C29040858}" type="sibTrans" cxnId="{95BAFB5B-4EFB-434C-A27E-783494A6A3AF}">
      <dgm:prSet/>
      <dgm:spPr/>
      <dgm:t>
        <a:bodyPr/>
        <a:lstStyle/>
        <a:p>
          <a:endParaRPr lang="en-US"/>
        </a:p>
      </dgm:t>
    </dgm:pt>
    <dgm:pt modelId="{AA6C23FE-3AFC-4CA7-B57A-B3E4CB36325F}">
      <dgm:prSet custT="1"/>
      <dgm:spPr/>
      <dgm:t>
        <a:bodyPr/>
        <a:lstStyle/>
        <a:p>
          <a:r>
            <a:rPr lang="en-US" sz="1400"/>
            <a:t>IMPROVE USER EXPERIENCE IN EO DATA ACCESS</a:t>
          </a:r>
        </a:p>
      </dgm:t>
    </dgm:pt>
    <dgm:pt modelId="{1F8A2B2D-B249-4148-8932-1FDF2EC7E56F}" type="parTrans" cxnId="{9D265F23-1840-407C-A505-9D837D3C60F3}">
      <dgm:prSet/>
      <dgm:spPr/>
      <dgm:t>
        <a:bodyPr/>
        <a:lstStyle/>
        <a:p>
          <a:endParaRPr lang="en-US"/>
        </a:p>
      </dgm:t>
    </dgm:pt>
    <dgm:pt modelId="{62CA2A62-4579-4E2E-84AF-BA4C8A70548C}" type="sibTrans" cxnId="{9D265F23-1840-407C-A505-9D837D3C60F3}">
      <dgm:prSet/>
      <dgm:spPr/>
      <dgm:t>
        <a:bodyPr/>
        <a:lstStyle/>
        <a:p>
          <a:endParaRPr lang="en-US"/>
        </a:p>
      </dgm:t>
    </dgm:pt>
    <dgm:pt modelId="{55C0CA65-DB01-44DA-97A1-F547D7B6722C}">
      <dgm:prSet custT="1"/>
      <dgm:spPr/>
      <dgm:t>
        <a:bodyPr/>
        <a:lstStyle/>
        <a:p>
          <a:r>
            <a:rPr lang="en-US" sz="1050"/>
            <a:t>Across-mission Data Access</a:t>
          </a:r>
        </a:p>
      </dgm:t>
    </dgm:pt>
    <dgm:pt modelId="{94288A9D-9C75-495F-8864-19EA59A9C528}" type="parTrans" cxnId="{83C933EC-4E8C-4670-B58C-7BCA2819F034}">
      <dgm:prSet/>
      <dgm:spPr/>
      <dgm:t>
        <a:bodyPr/>
        <a:lstStyle/>
        <a:p>
          <a:endParaRPr lang="en-US"/>
        </a:p>
      </dgm:t>
    </dgm:pt>
    <dgm:pt modelId="{53947D06-85B2-46CB-B839-FEDEF36A570B}" type="sibTrans" cxnId="{83C933EC-4E8C-4670-B58C-7BCA2819F034}">
      <dgm:prSet/>
      <dgm:spPr/>
      <dgm:t>
        <a:bodyPr/>
        <a:lstStyle/>
        <a:p>
          <a:endParaRPr lang="en-US"/>
        </a:p>
      </dgm:t>
    </dgm:pt>
    <dgm:pt modelId="{3C7691B3-905E-438E-9347-25AA1EC3EEE1}">
      <dgm:prSet custT="1"/>
      <dgm:spPr/>
      <dgm:t>
        <a:bodyPr/>
        <a:lstStyle/>
        <a:p>
          <a:r>
            <a:rPr lang="en-US" sz="1050"/>
            <a:t>State-of-the art technology</a:t>
          </a:r>
        </a:p>
      </dgm:t>
    </dgm:pt>
    <dgm:pt modelId="{DA02367F-EA83-4B50-90C4-FD56F55FD584}" type="parTrans" cxnId="{DDFCE544-5CE9-4DD0-BCB7-C148109B93A5}">
      <dgm:prSet/>
      <dgm:spPr/>
      <dgm:t>
        <a:bodyPr/>
        <a:lstStyle/>
        <a:p>
          <a:endParaRPr lang="en-US"/>
        </a:p>
      </dgm:t>
    </dgm:pt>
    <dgm:pt modelId="{C6900A56-DCAB-4086-9F7E-9FB665C5655E}" type="sibTrans" cxnId="{DDFCE544-5CE9-4DD0-BCB7-C148109B93A5}">
      <dgm:prSet/>
      <dgm:spPr/>
      <dgm:t>
        <a:bodyPr/>
        <a:lstStyle/>
        <a:p>
          <a:endParaRPr lang="en-US"/>
        </a:p>
      </dgm:t>
    </dgm:pt>
    <dgm:pt modelId="{FDB9A6B8-031E-4F41-9367-D8ADB60A568A}">
      <dgm:prSet custT="1"/>
      <dgm:spPr/>
      <dgm:t>
        <a:bodyPr/>
        <a:lstStyle/>
        <a:p>
          <a:r>
            <a:rPr lang="en-US" sz="1050"/>
            <a:t>Systems federation</a:t>
          </a:r>
        </a:p>
      </dgm:t>
    </dgm:pt>
    <dgm:pt modelId="{84B66E68-59AB-499E-9263-0E4FBAB04E3F}" type="parTrans" cxnId="{A7644095-7A97-4DD3-B8F3-718D70F29CFB}">
      <dgm:prSet/>
      <dgm:spPr/>
      <dgm:t>
        <a:bodyPr/>
        <a:lstStyle/>
        <a:p>
          <a:endParaRPr lang="en-US"/>
        </a:p>
      </dgm:t>
    </dgm:pt>
    <dgm:pt modelId="{AFBB0526-337B-4508-B644-BACAA5CF1718}" type="sibTrans" cxnId="{A7644095-7A97-4DD3-B8F3-718D70F29CFB}">
      <dgm:prSet/>
      <dgm:spPr/>
      <dgm:t>
        <a:bodyPr/>
        <a:lstStyle/>
        <a:p>
          <a:endParaRPr lang="en-US"/>
        </a:p>
      </dgm:t>
    </dgm:pt>
    <dgm:pt modelId="{84BA3FFB-B630-4C85-AB10-53DBF20469BC}">
      <dgm:prSet custT="1"/>
      <dgm:spPr/>
      <dgm:t>
        <a:bodyPr/>
        <a:lstStyle/>
        <a:p>
          <a:r>
            <a:rPr lang="en-US" sz="1600"/>
            <a:t>RAISE</a:t>
          </a:r>
        </a:p>
      </dgm:t>
    </dgm:pt>
    <dgm:pt modelId="{6C7786A6-F20C-409C-8453-9D63F4792BF1}" type="parTrans" cxnId="{3AA0D40C-2CA7-47BC-9705-87D036554A44}">
      <dgm:prSet/>
      <dgm:spPr/>
      <dgm:t>
        <a:bodyPr/>
        <a:lstStyle/>
        <a:p>
          <a:endParaRPr lang="en-US"/>
        </a:p>
      </dgm:t>
    </dgm:pt>
    <dgm:pt modelId="{A18990CC-A9FF-48BC-BBDC-77DAA30CCE9D}" type="sibTrans" cxnId="{3AA0D40C-2CA7-47BC-9705-87D036554A44}">
      <dgm:prSet/>
      <dgm:spPr/>
      <dgm:t>
        <a:bodyPr/>
        <a:lstStyle/>
        <a:p>
          <a:endParaRPr lang="en-US"/>
        </a:p>
      </dgm:t>
    </dgm:pt>
    <dgm:pt modelId="{3424847B-90F7-4A0F-9A20-BA40822F5862}">
      <dgm:prSet custT="1"/>
      <dgm:spPr/>
      <dgm:t>
        <a:bodyPr/>
        <a:lstStyle/>
        <a:p>
          <a:r>
            <a:rPr lang="en-US" sz="1400"/>
            <a:t>RAISE THE OFFER FOR USERS: FROM DATA TO WORKSPACE</a:t>
          </a:r>
        </a:p>
      </dgm:t>
    </dgm:pt>
    <dgm:pt modelId="{37C27A51-B8EA-4B8F-80BD-089EC62EF536}" type="parTrans" cxnId="{0AF2A298-EA50-4D4B-A34F-024F7AF70EF2}">
      <dgm:prSet/>
      <dgm:spPr/>
      <dgm:t>
        <a:bodyPr/>
        <a:lstStyle/>
        <a:p>
          <a:endParaRPr lang="en-US"/>
        </a:p>
      </dgm:t>
    </dgm:pt>
    <dgm:pt modelId="{BFB5E6D2-9F4A-4D4C-8F08-B79BE291D1CD}" type="sibTrans" cxnId="{0AF2A298-EA50-4D4B-A34F-024F7AF70EF2}">
      <dgm:prSet/>
      <dgm:spPr/>
      <dgm:t>
        <a:bodyPr/>
        <a:lstStyle/>
        <a:p>
          <a:endParaRPr lang="en-US"/>
        </a:p>
      </dgm:t>
    </dgm:pt>
    <dgm:pt modelId="{E6EBA4E1-6A00-4E8E-B664-3B5FDE8AC197}">
      <dgm:prSet custT="1"/>
      <dgm:spPr/>
      <dgm:t>
        <a:bodyPr/>
        <a:lstStyle/>
        <a:p>
          <a:r>
            <a:rPr lang="en-US" sz="1050"/>
            <a:t>R&amp;D-tailored tools and services </a:t>
          </a:r>
        </a:p>
      </dgm:t>
    </dgm:pt>
    <dgm:pt modelId="{054D4D24-6A41-4ED8-AE86-F0765B3A3BAC}" type="parTrans" cxnId="{FBC53903-1A3D-476B-89FD-F5FAF39CC15F}">
      <dgm:prSet/>
      <dgm:spPr/>
      <dgm:t>
        <a:bodyPr/>
        <a:lstStyle/>
        <a:p>
          <a:endParaRPr lang="en-US"/>
        </a:p>
      </dgm:t>
    </dgm:pt>
    <dgm:pt modelId="{C80A727D-4766-42CE-94D4-BC208B09262A}" type="sibTrans" cxnId="{FBC53903-1A3D-476B-89FD-F5FAF39CC15F}">
      <dgm:prSet/>
      <dgm:spPr/>
      <dgm:t>
        <a:bodyPr/>
        <a:lstStyle/>
        <a:p>
          <a:endParaRPr lang="en-US"/>
        </a:p>
      </dgm:t>
    </dgm:pt>
    <dgm:pt modelId="{A5D8CD75-727E-48F1-9AEC-CEF8CD3EBF14}">
      <dgm:prSet custT="1"/>
      <dgm:spPr/>
      <dgm:t>
        <a:bodyPr/>
        <a:lstStyle/>
        <a:p>
          <a:r>
            <a:rPr lang="en-US" sz="1050"/>
            <a:t>Scalable and Secure environment</a:t>
          </a:r>
        </a:p>
      </dgm:t>
    </dgm:pt>
    <dgm:pt modelId="{768146F8-9506-47C4-BFF0-D504C69B93DA}" type="parTrans" cxnId="{0D71BAC6-289E-48D6-B8C8-4A2C9CDAD0DC}">
      <dgm:prSet/>
      <dgm:spPr/>
      <dgm:t>
        <a:bodyPr/>
        <a:lstStyle/>
        <a:p>
          <a:endParaRPr lang="en-US"/>
        </a:p>
      </dgm:t>
    </dgm:pt>
    <dgm:pt modelId="{6F3046EA-EDAF-43AE-862A-C1BABFA9B3A4}" type="sibTrans" cxnId="{0D71BAC6-289E-48D6-B8C8-4A2C9CDAD0DC}">
      <dgm:prSet/>
      <dgm:spPr/>
      <dgm:t>
        <a:bodyPr/>
        <a:lstStyle/>
        <a:p>
          <a:endParaRPr lang="en-US"/>
        </a:p>
      </dgm:t>
    </dgm:pt>
    <dgm:pt modelId="{010AD579-5CEC-4846-A3E6-1A5E4A2ACD8E}">
      <dgm:prSet custT="1"/>
      <dgm:spPr/>
      <dgm:t>
        <a:bodyPr/>
        <a:lstStyle/>
        <a:p>
          <a:r>
            <a:rPr lang="en-US" sz="1050"/>
            <a:t>Effective User Management and User Support </a:t>
          </a:r>
        </a:p>
      </dgm:t>
    </dgm:pt>
    <dgm:pt modelId="{D8EE1FA7-6BB8-475E-81F9-3630343AC4DB}" type="parTrans" cxnId="{9689D76A-2163-47A8-8E3B-EF8A3712F773}">
      <dgm:prSet/>
      <dgm:spPr/>
      <dgm:t>
        <a:bodyPr/>
        <a:lstStyle/>
        <a:p>
          <a:endParaRPr lang="en-US"/>
        </a:p>
      </dgm:t>
    </dgm:pt>
    <dgm:pt modelId="{CEB79600-B5FB-4CBA-B2D0-82735A79A5E1}" type="sibTrans" cxnId="{9689D76A-2163-47A8-8E3B-EF8A3712F773}">
      <dgm:prSet/>
      <dgm:spPr/>
      <dgm:t>
        <a:bodyPr/>
        <a:lstStyle/>
        <a:p>
          <a:endParaRPr lang="en-US"/>
        </a:p>
      </dgm:t>
    </dgm:pt>
    <dgm:pt modelId="{F49D1986-F1BD-4844-8098-3AF9A5E05934}">
      <dgm:prSet custT="1"/>
      <dgm:spPr/>
      <dgm:t>
        <a:bodyPr/>
        <a:lstStyle/>
        <a:p>
          <a:r>
            <a:rPr lang="en-US" sz="1600"/>
            <a:t>POWER</a:t>
          </a:r>
        </a:p>
      </dgm:t>
    </dgm:pt>
    <dgm:pt modelId="{8C31E2ED-CDD4-4300-B3F3-25A09ADBA557}" type="parTrans" cxnId="{ABA889C0-AE81-4751-A7AD-7EDE8629C818}">
      <dgm:prSet/>
      <dgm:spPr/>
      <dgm:t>
        <a:bodyPr/>
        <a:lstStyle/>
        <a:p>
          <a:endParaRPr lang="en-US"/>
        </a:p>
      </dgm:t>
    </dgm:pt>
    <dgm:pt modelId="{74BA41D5-073A-4922-975F-6E20E8A3894D}" type="sibTrans" cxnId="{ABA889C0-AE81-4751-A7AD-7EDE8629C818}">
      <dgm:prSet/>
      <dgm:spPr/>
      <dgm:t>
        <a:bodyPr/>
        <a:lstStyle/>
        <a:p>
          <a:endParaRPr lang="en-US"/>
        </a:p>
      </dgm:t>
    </dgm:pt>
    <dgm:pt modelId="{3E2DB9F8-F40E-4CBB-A45C-AB90E561A85E}">
      <dgm:prSet custT="1"/>
      <dgm:spPr/>
      <dgm:t>
        <a:bodyPr/>
        <a:lstStyle/>
        <a:p>
          <a:r>
            <a:rPr lang="en-US" sz="1400"/>
            <a:t>POWER COLLABORATIVE R&amp;D</a:t>
          </a:r>
        </a:p>
      </dgm:t>
    </dgm:pt>
    <dgm:pt modelId="{C39587FB-30DA-4A9D-B3A8-20E76147CB4F}" type="parTrans" cxnId="{5EE038F9-7499-47D8-B6D5-65E5B571407C}">
      <dgm:prSet/>
      <dgm:spPr/>
      <dgm:t>
        <a:bodyPr/>
        <a:lstStyle/>
        <a:p>
          <a:endParaRPr lang="en-US"/>
        </a:p>
      </dgm:t>
    </dgm:pt>
    <dgm:pt modelId="{0CDD89BF-51D5-4E3F-B070-24F5A583124A}" type="sibTrans" cxnId="{5EE038F9-7499-47D8-B6D5-65E5B571407C}">
      <dgm:prSet/>
      <dgm:spPr/>
      <dgm:t>
        <a:bodyPr/>
        <a:lstStyle/>
        <a:p>
          <a:endParaRPr lang="en-US"/>
        </a:p>
      </dgm:t>
    </dgm:pt>
    <dgm:pt modelId="{761E599E-B704-4E74-B8AC-9BFA9BFBB09E}">
      <dgm:prSet custT="1"/>
      <dgm:spPr/>
      <dgm:t>
        <a:bodyPr/>
        <a:lstStyle/>
        <a:p>
          <a:r>
            <a:rPr lang="en-US" sz="1050"/>
            <a:t>Configurable shared environments </a:t>
          </a:r>
        </a:p>
      </dgm:t>
    </dgm:pt>
    <dgm:pt modelId="{72DE2DB6-44B3-481A-9FE7-3822423962F0}" type="parTrans" cxnId="{30BDE03B-1778-424D-A3F2-AA32D8EA9B35}">
      <dgm:prSet/>
      <dgm:spPr/>
      <dgm:t>
        <a:bodyPr/>
        <a:lstStyle/>
        <a:p>
          <a:endParaRPr lang="en-US"/>
        </a:p>
      </dgm:t>
    </dgm:pt>
    <dgm:pt modelId="{B96ED6EB-60CD-44EA-95A3-273440F8CDCD}" type="sibTrans" cxnId="{30BDE03B-1778-424D-A3F2-AA32D8EA9B35}">
      <dgm:prSet/>
      <dgm:spPr/>
      <dgm:t>
        <a:bodyPr/>
        <a:lstStyle/>
        <a:p>
          <a:endParaRPr lang="en-US"/>
        </a:p>
      </dgm:t>
    </dgm:pt>
    <dgm:pt modelId="{2C612A68-2A29-4CC0-BC08-A6E8539F8786}">
      <dgm:prSet custT="1"/>
      <dgm:spPr/>
      <dgm:t>
        <a:bodyPr/>
        <a:lstStyle/>
        <a:p>
          <a:r>
            <a:rPr lang="en-US" sz="1050"/>
            <a:t>Focus on knowledge-sharing and community support</a:t>
          </a:r>
        </a:p>
      </dgm:t>
    </dgm:pt>
    <dgm:pt modelId="{24C7D275-EF3A-4A3B-A3E1-DF2F759DAF15}" type="parTrans" cxnId="{A1473B73-F52C-4F99-AA6C-828FF3B4AB1B}">
      <dgm:prSet/>
      <dgm:spPr/>
      <dgm:t>
        <a:bodyPr/>
        <a:lstStyle/>
        <a:p>
          <a:endParaRPr lang="en-US"/>
        </a:p>
      </dgm:t>
    </dgm:pt>
    <dgm:pt modelId="{59685B78-E101-4427-A7D9-E573CCA204D1}" type="sibTrans" cxnId="{A1473B73-F52C-4F99-AA6C-828FF3B4AB1B}">
      <dgm:prSet/>
      <dgm:spPr/>
      <dgm:t>
        <a:bodyPr/>
        <a:lstStyle/>
        <a:p>
          <a:endParaRPr lang="en-US"/>
        </a:p>
      </dgm:t>
    </dgm:pt>
    <dgm:pt modelId="{33DA524F-D7D1-41BF-8CBB-2A2098B2F807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EFFECTIVELY</a:t>
          </a:r>
          <a:r>
            <a:rPr lang="en-GB" sz="1400" b="1" kern="1200">
              <a:solidFill>
                <a:schemeClr val="bg1">
                  <a:lumMod val="50000"/>
                </a:schemeClr>
              </a:solidFill>
            </a:rPr>
            <a:t> </a:t>
          </a: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DDRESS INCREASING COMPLEXITY and OPERATIONAL CHALLENGES</a:t>
          </a:r>
          <a:endParaRPr lang="en-US" sz="14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Arial" panose="020B0604020202020204"/>
            <a:ea typeface="+mn-ea"/>
            <a:cs typeface="+mn-cs"/>
          </a:endParaRPr>
        </a:p>
      </dgm:t>
    </dgm:pt>
    <dgm:pt modelId="{BB0E80D6-82AB-46C9-B8EF-ECBC457CAD01}" type="parTrans" cxnId="{4623A4D3-6C8A-4BBE-B1D1-7DDA5399692A}">
      <dgm:prSet/>
      <dgm:spPr/>
      <dgm:t>
        <a:bodyPr/>
        <a:lstStyle/>
        <a:p>
          <a:endParaRPr lang="en-GB"/>
        </a:p>
      </dgm:t>
    </dgm:pt>
    <dgm:pt modelId="{181BC89C-AFBA-4DA9-B77F-792B94932023}" type="sibTrans" cxnId="{4623A4D3-6C8A-4BBE-B1D1-7DDA5399692A}">
      <dgm:prSet/>
      <dgm:spPr/>
      <dgm:t>
        <a:bodyPr/>
        <a:lstStyle/>
        <a:p>
          <a:endParaRPr lang="en-GB"/>
        </a:p>
      </dgm:t>
    </dgm:pt>
    <dgm:pt modelId="{0E1F9485-64C9-4F00-B127-7A54268DE275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cross-mission technical baseline </a:t>
          </a:r>
        </a:p>
      </dgm:t>
    </dgm:pt>
    <dgm:pt modelId="{BA2631B6-47EE-4FE2-8BAF-69E4E3B85420}" type="parTrans" cxnId="{9CC5A185-7FC7-4C3B-8B8A-295AF56B7BFB}">
      <dgm:prSet/>
      <dgm:spPr/>
      <dgm:t>
        <a:bodyPr/>
        <a:lstStyle/>
        <a:p>
          <a:endParaRPr lang="en-GB"/>
        </a:p>
      </dgm:t>
    </dgm:pt>
    <dgm:pt modelId="{F652BC45-5B08-4593-9F59-6A199A69100B}" type="sibTrans" cxnId="{9CC5A185-7FC7-4C3B-8B8A-295AF56B7BFB}">
      <dgm:prSet/>
      <dgm:spPr/>
      <dgm:t>
        <a:bodyPr/>
        <a:lstStyle/>
        <a:p>
          <a:endParaRPr lang="en-GB"/>
        </a:p>
      </dgm:t>
    </dgm:pt>
    <dgm:pt modelId="{8856F789-71BC-4EEE-B630-60293E0FF3E4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Building on existing industrial capabilities and consolidated practices</a:t>
          </a:r>
        </a:p>
      </dgm:t>
    </dgm:pt>
    <dgm:pt modelId="{806D1832-CCD1-4894-9FB7-49A11AAB376C}" type="parTrans" cxnId="{B9289DFC-018D-43F0-8695-4ECC09E45F46}">
      <dgm:prSet/>
      <dgm:spPr/>
      <dgm:t>
        <a:bodyPr/>
        <a:lstStyle/>
        <a:p>
          <a:endParaRPr lang="en-GB"/>
        </a:p>
      </dgm:t>
    </dgm:pt>
    <dgm:pt modelId="{40A5F287-907B-4631-B5E1-5074B07A6EF1}" type="sibTrans" cxnId="{B9289DFC-018D-43F0-8695-4ECC09E45F46}">
      <dgm:prSet/>
      <dgm:spPr/>
      <dgm:t>
        <a:bodyPr/>
        <a:lstStyle/>
        <a:p>
          <a:endParaRPr lang="en-GB"/>
        </a:p>
      </dgm:t>
    </dgm:pt>
    <dgm:pt modelId="{03CCDF12-E100-4B66-BFE7-9911B1D8D4A8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Focus on core value added activities </a:t>
          </a:r>
        </a:p>
      </dgm:t>
    </dgm:pt>
    <dgm:pt modelId="{FF9B7BA2-A57A-4AB5-81CD-5E41E203B5CA}" type="parTrans" cxnId="{9E2EDC3A-0006-4EFC-B6CF-16678A69AF99}">
      <dgm:prSet/>
      <dgm:spPr/>
      <dgm:t>
        <a:bodyPr/>
        <a:lstStyle/>
        <a:p>
          <a:endParaRPr lang="en-GB"/>
        </a:p>
      </dgm:t>
    </dgm:pt>
    <dgm:pt modelId="{66E9E695-F58D-49CC-86B4-3F781FBBC426}" type="sibTrans" cxnId="{9E2EDC3A-0006-4EFC-B6CF-16678A69AF99}">
      <dgm:prSet/>
      <dgm:spPr/>
      <dgm:t>
        <a:bodyPr/>
        <a:lstStyle/>
        <a:p>
          <a:endParaRPr lang="en-GB"/>
        </a:p>
      </dgm:t>
    </dgm:pt>
    <dgm:pt modelId="{8DF5CEDC-C09F-417C-9AD1-70D73E98A9F4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US" sz="1600"/>
            <a:t>ADDRESS</a:t>
          </a:r>
        </a:p>
      </dgm:t>
    </dgm:pt>
    <dgm:pt modelId="{B45F4BAE-07A4-42EB-B1E7-84EE71C08942}" type="parTrans" cxnId="{D37194AF-7EBF-4EE6-84F5-EA3CE2791D11}">
      <dgm:prSet/>
      <dgm:spPr/>
      <dgm:t>
        <a:bodyPr/>
        <a:lstStyle/>
        <a:p>
          <a:endParaRPr lang="en-GB"/>
        </a:p>
      </dgm:t>
    </dgm:pt>
    <dgm:pt modelId="{9E87E0A6-6BA7-496C-8490-D7C9D3DF50FD}" type="sibTrans" cxnId="{D37194AF-7EBF-4EE6-84F5-EA3CE2791D11}">
      <dgm:prSet/>
      <dgm:spPr/>
      <dgm:t>
        <a:bodyPr/>
        <a:lstStyle/>
        <a:p>
          <a:endParaRPr lang="en-GB"/>
        </a:p>
      </dgm:t>
    </dgm:pt>
    <dgm:pt modelId="{061F5B9A-23E1-46C9-A42B-6E4F3602AF87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GB" sz="1600" kern="1200">
              <a:solidFill>
                <a:prstClr val="white"/>
              </a:solidFill>
              <a:latin typeface="Arial" panose="020B0604020202020204"/>
              <a:ea typeface="+mn-ea"/>
              <a:cs typeface="+mn-cs"/>
            </a:rPr>
            <a:t>FOSTER</a:t>
          </a:r>
        </a:p>
      </dgm:t>
    </dgm:pt>
    <dgm:pt modelId="{89C2B6DE-D76E-4AE0-A972-727DDBD9612C}" type="parTrans" cxnId="{5C4EC13D-A277-454E-8F3D-DBB110423590}">
      <dgm:prSet/>
      <dgm:spPr/>
      <dgm:t>
        <a:bodyPr/>
        <a:lstStyle/>
        <a:p>
          <a:endParaRPr lang="en-GB"/>
        </a:p>
      </dgm:t>
    </dgm:pt>
    <dgm:pt modelId="{972F83C6-CBFA-427A-B0E4-1390905FC3C4}" type="sibTrans" cxnId="{5C4EC13D-A277-454E-8F3D-DBB110423590}">
      <dgm:prSet/>
      <dgm:spPr/>
      <dgm:t>
        <a:bodyPr/>
        <a:lstStyle/>
        <a:p>
          <a:endParaRPr lang="en-GB"/>
        </a:p>
      </dgm:t>
    </dgm:pt>
    <dgm:pt modelId="{728C2336-0682-4522-97B8-FF6E103E2CAC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Optimised user journey</a:t>
          </a:r>
        </a:p>
      </dgm:t>
    </dgm:pt>
    <dgm:pt modelId="{55E7C7B6-3AAF-401E-B707-77C465FC4FD2}" type="parTrans" cxnId="{D3140F81-78F7-4F6F-849F-0926B34909E5}">
      <dgm:prSet/>
      <dgm:spPr/>
      <dgm:t>
        <a:bodyPr/>
        <a:lstStyle/>
        <a:p>
          <a:endParaRPr lang="en-GB"/>
        </a:p>
      </dgm:t>
    </dgm:pt>
    <dgm:pt modelId="{6CD818C1-9904-4B0D-B8CA-8A362C96C88E}" type="sibTrans" cxnId="{D3140F81-78F7-4F6F-849F-0926B34909E5}">
      <dgm:prSet/>
      <dgm:spPr/>
      <dgm:t>
        <a:bodyPr/>
        <a:lstStyle/>
        <a:p>
          <a:endParaRPr lang="en-GB"/>
        </a:p>
      </dgm:t>
    </dgm:pt>
    <dgm:pt modelId="{368A064B-1560-41DE-B706-7D2EA7432519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Exploiting service-level synergies </a:t>
          </a:r>
        </a:p>
      </dgm:t>
    </dgm:pt>
    <dgm:pt modelId="{FC9F15F2-4F61-4FC7-A301-CE5908F6D266}" type="parTrans" cxnId="{356B88C0-2FD9-4DBA-9871-BD737188E593}">
      <dgm:prSet/>
      <dgm:spPr/>
      <dgm:t>
        <a:bodyPr/>
        <a:lstStyle/>
        <a:p>
          <a:endParaRPr lang="en-GB"/>
        </a:p>
      </dgm:t>
    </dgm:pt>
    <dgm:pt modelId="{7BC35079-A357-4F88-9FF9-E5F96E4344E8}" type="sibTrans" cxnId="{356B88C0-2FD9-4DBA-9871-BD737188E593}">
      <dgm:prSet/>
      <dgm:spPr/>
      <dgm:t>
        <a:bodyPr/>
        <a:lstStyle/>
        <a:p>
          <a:endParaRPr lang="en-GB"/>
        </a:p>
      </dgm:t>
    </dgm:pt>
    <dgm:pt modelId="{8666D3BD-D28C-4932-8ACF-6F887C88D058}">
      <dgm:prSet custT="1"/>
      <dgm:spPr/>
      <dgm:t>
        <a:bodyPr/>
        <a:lstStyle/>
        <a:p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ccess to wider user community</a:t>
          </a:r>
        </a:p>
      </dgm:t>
    </dgm:pt>
    <dgm:pt modelId="{2C563C19-1460-4733-9C08-C272D81B9762}" type="parTrans" cxnId="{844D77B3-CF71-4833-975B-F32DD142435B}">
      <dgm:prSet/>
      <dgm:spPr/>
      <dgm:t>
        <a:bodyPr/>
        <a:lstStyle/>
        <a:p>
          <a:endParaRPr lang="en-GB"/>
        </a:p>
      </dgm:t>
    </dgm:pt>
    <dgm:pt modelId="{C2B23A3A-6D93-4839-8664-48E027F42146}" type="sibTrans" cxnId="{844D77B3-CF71-4833-975B-F32DD142435B}">
      <dgm:prSet/>
      <dgm:spPr/>
      <dgm:t>
        <a:bodyPr/>
        <a:lstStyle/>
        <a:p>
          <a:endParaRPr lang="en-GB"/>
        </a:p>
      </dgm:t>
    </dgm:pt>
    <dgm:pt modelId="{B7AFB916-4B99-49DA-B692-8AA34C442791}">
      <dgm:prSet custT="1"/>
      <dgm:spPr/>
      <dgm:t>
        <a:bodyPr/>
        <a:lstStyle/>
        <a:p>
          <a:pPr>
            <a:buFont typeface="Wingdings" panose="05000000000000000000" pitchFamily="2" charset="2"/>
            <a:buChar char="ü"/>
          </a:pP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FOSTER INTEGRATION WITH THE EO ECOSYSTEM</a:t>
          </a:r>
        </a:p>
      </dgm:t>
    </dgm:pt>
    <dgm:pt modelId="{D33C7F5B-4574-4D99-9174-BAC0F1F00278}" type="parTrans" cxnId="{C71363F0-C235-4E7E-B08C-F159A5FF69E0}">
      <dgm:prSet/>
      <dgm:spPr/>
      <dgm:t>
        <a:bodyPr/>
        <a:lstStyle/>
        <a:p>
          <a:endParaRPr lang="en-GB"/>
        </a:p>
      </dgm:t>
    </dgm:pt>
    <dgm:pt modelId="{93F57A39-887B-4060-8AD3-4734C4FDAEE1}" type="sibTrans" cxnId="{C71363F0-C235-4E7E-B08C-F159A5FF69E0}">
      <dgm:prSet/>
      <dgm:spPr/>
      <dgm:t>
        <a:bodyPr/>
        <a:lstStyle/>
        <a:p>
          <a:endParaRPr lang="en-GB"/>
        </a:p>
      </dgm:t>
    </dgm:pt>
    <dgm:pt modelId="{DA3D43D2-2A5F-4BAE-A099-978B4D582118}" type="pres">
      <dgm:prSet presAssocID="{CFE264FB-92F6-40F6-A93E-6466BADD0D5D}" presName="Name0" presStyleCnt="0">
        <dgm:presLayoutVars>
          <dgm:dir/>
          <dgm:animLvl val="lvl"/>
          <dgm:resizeHandles val="exact"/>
        </dgm:presLayoutVars>
      </dgm:prSet>
      <dgm:spPr/>
    </dgm:pt>
    <dgm:pt modelId="{D49E2F01-1BB8-49A7-BBC0-E587C2C104D6}" type="pres">
      <dgm:prSet presAssocID="{B3AE7012-133B-4C01-9405-E41643017BCE}" presName="linNode" presStyleCnt="0"/>
      <dgm:spPr/>
    </dgm:pt>
    <dgm:pt modelId="{17E48863-FE76-4043-B6A3-36780E8B4AE1}" type="pres">
      <dgm:prSet presAssocID="{B3AE7012-133B-4C01-9405-E41643017BCE}" presName="parentText" presStyleLbl="alignNode1" presStyleIdx="0" presStyleCnt="5">
        <dgm:presLayoutVars>
          <dgm:chMax val="1"/>
          <dgm:bulletEnabled/>
        </dgm:presLayoutVars>
      </dgm:prSet>
      <dgm:spPr/>
    </dgm:pt>
    <dgm:pt modelId="{303E2975-6F73-4B1B-AA5F-8E13DE9F14C1}" type="pres">
      <dgm:prSet presAssocID="{B3AE7012-133B-4C01-9405-E41643017BCE}" presName="descendantText" presStyleLbl="alignAccFollowNode1" presStyleIdx="0" presStyleCnt="5">
        <dgm:presLayoutVars>
          <dgm:bulletEnabled/>
        </dgm:presLayoutVars>
      </dgm:prSet>
      <dgm:spPr/>
    </dgm:pt>
    <dgm:pt modelId="{758C2711-DA3C-46E9-AEF2-06D7909398CE}" type="pres">
      <dgm:prSet presAssocID="{F2F96F8A-5DAD-4848-B1E7-3C5C29040858}" presName="sp" presStyleCnt="0"/>
      <dgm:spPr/>
    </dgm:pt>
    <dgm:pt modelId="{933A8F98-8208-49AC-A2EB-7BE236485520}" type="pres">
      <dgm:prSet presAssocID="{84BA3FFB-B630-4C85-AB10-53DBF20469BC}" presName="linNode" presStyleCnt="0"/>
      <dgm:spPr/>
    </dgm:pt>
    <dgm:pt modelId="{97025708-ABA2-43ED-A0D1-8F20AAFE64BC}" type="pres">
      <dgm:prSet presAssocID="{84BA3FFB-B630-4C85-AB10-53DBF20469BC}" presName="parentText" presStyleLbl="alignNode1" presStyleIdx="1" presStyleCnt="5">
        <dgm:presLayoutVars>
          <dgm:chMax val="1"/>
          <dgm:bulletEnabled/>
        </dgm:presLayoutVars>
      </dgm:prSet>
      <dgm:spPr/>
    </dgm:pt>
    <dgm:pt modelId="{9892E7C0-90BC-4A4F-AD45-3FC25D3377E9}" type="pres">
      <dgm:prSet presAssocID="{84BA3FFB-B630-4C85-AB10-53DBF20469BC}" presName="descendantText" presStyleLbl="alignAccFollowNode1" presStyleIdx="1" presStyleCnt="5">
        <dgm:presLayoutVars>
          <dgm:bulletEnabled/>
        </dgm:presLayoutVars>
      </dgm:prSet>
      <dgm:spPr/>
    </dgm:pt>
    <dgm:pt modelId="{AD3DF2C2-8E20-4E98-8B77-98BF33C6D201}" type="pres">
      <dgm:prSet presAssocID="{A18990CC-A9FF-48BC-BBDC-77DAA30CCE9D}" presName="sp" presStyleCnt="0"/>
      <dgm:spPr/>
    </dgm:pt>
    <dgm:pt modelId="{02AD25F4-2613-42E3-892F-A5611CCA4D3A}" type="pres">
      <dgm:prSet presAssocID="{F49D1986-F1BD-4844-8098-3AF9A5E05934}" presName="linNode" presStyleCnt="0"/>
      <dgm:spPr/>
    </dgm:pt>
    <dgm:pt modelId="{A423F3FE-71F7-48E1-B8BE-2D7B962EDD31}" type="pres">
      <dgm:prSet presAssocID="{F49D1986-F1BD-4844-8098-3AF9A5E05934}" presName="parentText" presStyleLbl="alignNode1" presStyleIdx="2" presStyleCnt="5">
        <dgm:presLayoutVars>
          <dgm:chMax val="1"/>
          <dgm:bulletEnabled/>
        </dgm:presLayoutVars>
      </dgm:prSet>
      <dgm:spPr/>
    </dgm:pt>
    <dgm:pt modelId="{F058C04C-D7F7-41E7-ABA7-2F938B949765}" type="pres">
      <dgm:prSet presAssocID="{F49D1986-F1BD-4844-8098-3AF9A5E05934}" presName="descendantText" presStyleLbl="alignAccFollowNode1" presStyleIdx="2" presStyleCnt="5">
        <dgm:presLayoutVars>
          <dgm:bulletEnabled/>
        </dgm:presLayoutVars>
      </dgm:prSet>
      <dgm:spPr/>
    </dgm:pt>
    <dgm:pt modelId="{235D3EDB-BCF1-42C0-BCEB-24054A3DAE76}" type="pres">
      <dgm:prSet presAssocID="{74BA41D5-073A-4922-975F-6E20E8A3894D}" presName="sp" presStyleCnt="0"/>
      <dgm:spPr/>
    </dgm:pt>
    <dgm:pt modelId="{6B4AE8CB-6D5E-42F1-A154-2D174FCA350C}" type="pres">
      <dgm:prSet presAssocID="{8DF5CEDC-C09F-417C-9AD1-70D73E98A9F4}" presName="linNode" presStyleCnt="0"/>
      <dgm:spPr/>
    </dgm:pt>
    <dgm:pt modelId="{C34352FB-852F-4078-B77C-1308271B8517}" type="pres">
      <dgm:prSet presAssocID="{8DF5CEDC-C09F-417C-9AD1-70D73E98A9F4}" presName="parentText" presStyleLbl="alignNode1" presStyleIdx="3" presStyleCnt="5">
        <dgm:presLayoutVars>
          <dgm:chMax val="1"/>
          <dgm:bulletEnabled/>
        </dgm:presLayoutVars>
      </dgm:prSet>
      <dgm:spPr/>
    </dgm:pt>
    <dgm:pt modelId="{1FEB8353-3F11-472E-A21A-DAC06035FCF0}" type="pres">
      <dgm:prSet presAssocID="{8DF5CEDC-C09F-417C-9AD1-70D73E98A9F4}" presName="descendantText" presStyleLbl="alignAccFollowNode1" presStyleIdx="3" presStyleCnt="5" custLinFactNeighborY="179">
        <dgm:presLayoutVars>
          <dgm:bulletEnabled/>
        </dgm:presLayoutVars>
      </dgm:prSet>
      <dgm:spPr/>
    </dgm:pt>
    <dgm:pt modelId="{3DA8FC72-3A65-4AE7-8630-70499AD2947E}" type="pres">
      <dgm:prSet presAssocID="{9E87E0A6-6BA7-496C-8490-D7C9D3DF50FD}" presName="sp" presStyleCnt="0"/>
      <dgm:spPr/>
    </dgm:pt>
    <dgm:pt modelId="{A865A9AA-D71A-4012-9C88-8140F548044D}" type="pres">
      <dgm:prSet presAssocID="{061F5B9A-23E1-46C9-A42B-6E4F3602AF87}" presName="linNode" presStyleCnt="0"/>
      <dgm:spPr/>
    </dgm:pt>
    <dgm:pt modelId="{F1CF73E8-A83A-445A-B195-C9EB0F7E3E35}" type="pres">
      <dgm:prSet presAssocID="{061F5B9A-23E1-46C9-A42B-6E4F3602AF87}" presName="parentText" presStyleLbl="alignNode1" presStyleIdx="4" presStyleCnt="5">
        <dgm:presLayoutVars>
          <dgm:chMax val="1"/>
          <dgm:bulletEnabled/>
        </dgm:presLayoutVars>
      </dgm:prSet>
      <dgm:spPr/>
    </dgm:pt>
    <dgm:pt modelId="{A3EAB7A4-578B-4BF7-BFFF-80314D38BCB8}" type="pres">
      <dgm:prSet presAssocID="{061F5B9A-23E1-46C9-A42B-6E4F3602AF87}" presName="descendantText" presStyleLbl="alignAccFollowNode1" presStyleIdx="4" presStyleCnt="5">
        <dgm:presLayoutVars>
          <dgm:bulletEnabled/>
        </dgm:presLayoutVars>
      </dgm:prSet>
      <dgm:spPr/>
    </dgm:pt>
  </dgm:ptLst>
  <dgm:cxnLst>
    <dgm:cxn modelId="{71718600-A602-4019-A1AA-CCEFDB74DD42}" type="presOf" srcId="{3424847B-90F7-4A0F-9A20-BA40822F5862}" destId="{9892E7C0-90BC-4A4F-AD45-3FC25D3377E9}" srcOrd="0" destOrd="0" presId="urn:microsoft.com/office/officeart/2016/7/layout/VerticalSolidActionList"/>
    <dgm:cxn modelId="{FBC53903-1A3D-476B-89FD-F5FAF39CC15F}" srcId="{3424847B-90F7-4A0F-9A20-BA40822F5862}" destId="{E6EBA4E1-6A00-4E8E-B664-3B5FDE8AC197}" srcOrd="0" destOrd="0" parTransId="{054D4D24-6A41-4ED8-AE86-F0765B3A3BAC}" sibTransId="{C80A727D-4766-42CE-94D4-BC208B09262A}"/>
    <dgm:cxn modelId="{4B701E0B-AC17-4961-8A1A-D6AB5411B6FB}" type="presOf" srcId="{FDB9A6B8-031E-4F41-9367-D8ADB60A568A}" destId="{303E2975-6F73-4B1B-AA5F-8E13DE9F14C1}" srcOrd="0" destOrd="3" presId="urn:microsoft.com/office/officeart/2016/7/layout/VerticalSolidActionList"/>
    <dgm:cxn modelId="{3AA0D40C-2CA7-47BC-9705-87D036554A44}" srcId="{CFE264FB-92F6-40F6-A93E-6466BADD0D5D}" destId="{84BA3FFB-B630-4C85-AB10-53DBF20469BC}" srcOrd="1" destOrd="0" parTransId="{6C7786A6-F20C-409C-8453-9D63F4792BF1}" sibTransId="{A18990CC-A9FF-48BC-BBDC-77DAA30CCE9D}"/>
    <dgm:cxn modelId="{00991D12-9D77-44C2-B0B6-7F218EAE0B62}" type="presOf" srcId="{2C612A68-2A29-4CC0-BC08-A6E8539F8786}" destId="{F058C04C-D7F7-41E7-ABA7-2F938B949765}" srcOrd="0" destOrd="2" presId="urn:microsoft.com/office/officeart/2016/7/layout/VerticalSolidActionList"/>
    <dgm:cxn modelId="{75037613-24FD-45BD-829F-2A0EA1CECDB2}" type="presOf" srcId="{B7AFB916-4B99-49DA-B692-8AA34C442791}" destId="{A3EAB7A4-578B-4BF7-BFFF-80314D38BCB8}" srcOrd="0" destOrd="0" presId="urn:microsoft.com/office/officeart/2016/7/layout/VerticalSolidActionList"/>
    <dgm:cxn modelId="{0D176415-E0CE-4F75-B42D-B4ADE66E593D}" type="presOf" srcId="{AA6C23FE-3AFC-4CA7-B57A-B3E4CB36325F}" destId="{303E2975-6F73-4B1B-AA5F-8E13DE9F14C1}" srcOrd="0" destOrd="0" presId="urn:microsoft.com/office/officeart/2016/7/layout/VerticalSolidActionList"/>
    <dgm:cxn modelId="{79B4DE20-CBDF-4CD5-864E-E5AF524218C6}" type="presOf" srcId="{3C7691B3-905E-438E-9347-25AA1EC3EEE1}" destId="{303E2975-6F73-4B1B-AA5F-8E13DE9F14C1}" srcOrd="0" destOrd="2" presId="urn:microsoft.com/office/officeart/2016/7/layout/VerticalSolidActionList"/>
    <dgm:cxn modelId="{9D265F23-1840-407C-A505-9D837D3C60F3}" srcId="{B3AE7012-133B-4C01-9405-E41643017BCE}" destId="{AA6C23FE-3AFC-4CA7-B57A-B3E4CB36325F}" srcOrd="0" destOrd="0" parTransId="{1F8A2B2D-B249-4148-8932-1FDF2EC7E56F}" sibTransId="{62CA2A62-4579-4E2E-84AF-BA4C8A70548C}"/>
    <dgm:cxn modelId="{1E67C623-7CA9-4925-9861-87DE53AB5484}" type="presOf" srcId="{0E1F9485-64C9-4F00-B127-7A54268DE275}" destId="{1FEB8353-3F11-472E-A21A-DAC06035FCF0}" srcOrd="0" destOrd="1" presId="urn:microsoft.com/office/officeart/2016/7/layout/VerticalSolidActionList"/>
    <dgm:cxn modelId="{9E2EDC3A-0006-4EFC-B6CF-16678A69AF99}" srcId="{8DF5CEDC-C09F-417C-9AD1-70D73E98A9F4}" destId="{03CCDF12-E100-4B66-BFE7-9911B1D8D4A8}" srcOrd="3" destOrd="0" parTransId="{FF9B7BA2-A57A-4AB5-81CD-5E41E203B5CA}" sibTransId="{66E9E695-F58D-49CC-86B4-3F781FBBC426}"/>
    <dgm:cxn modelId="{748D033B-3811-44C4-B82C-75A5FD296177}" type="presOf" srcId="{CFE264FB-92F6-40F6-A93E-6466BADD0D5D}" destId="{DA3D43D2-2A5F-4BAE-A099-978B4D582118}" srcOrd="0" destOrd="0" presId="urn:microsoft.com/office/officeart/2016/7/layout/VerticalSolidActionList"/>
    <dgm:cxn modelId="{30BDE03B-1778-424D-A3F2-AA32D8EA9B35}" srcId="{3E2DB9F8-F40E-4CBB-A45C-AB90E561A85E}" destId="{761E599E-B704-4E74-B8AC-9BFA9BFBB09E}" srcOrd="0" destOrd="0" parTransId="{72DE2DB6-44B3-481A-9FE7-3822423962F0}" sibTransId="{B96ED6EB-60CD-44EA-95A3-273440F8CDCD}"/>
    <dgm:cxn modelId="{5C4EC13D-A277-454E-8F3D-DBB110423590}" srcId="{CFE264FB-92F6-40F6-A93E-6466BADD0D5D}" destId="{061F5B9A-23E1-46C9-A42B-6E4F3602AF87}" srcOrd="4" destOrd="0" parTransId="{89C2B6DE-D76E-4AE0-A972-727DDBD9612C}" sibTransId="{972F83C6-CBFA-427A-B0E4-1390905FC3C4}"/>
    <dgm:cxn modelId="{95BAFB5B-4EFB-434C-A27E-783494A6A3AF}" srcId="{CFE264FB-92F6-40F6-A93E-6466BADD0D5D}" destId="{B3AE7012-133B-4C01-9405-E41643017BCE}" srcOrd="0" destOrd="0" parTransId="{07519ABD-48AF-4DCA-A20D-67D45FCDF446}" sibTransId="{F2F96F8A-5DAD-4848-B1E7-3C5C29040858}"/>
    <dgm:cxn modelId="{DDFCE544-5CE9-4DD0-BCB7-C148109B93A5}" srcId="{AA6C23FE-3AFC-4CA7-B57A-B3E4CB36325F}" destId="{3C7691B3-905E-438E-9347-25AA1EC3EEE1}" srcOrd="1" destOrd="0" parTransId="{DA02367F-EA83-4B50-90C4-FD56F55FD584}" sibTransId="{C6900A56-DCAB-4086-9F7E-9FB665C5655E}"/>
    <dgm:cxn modelId="{9689D76A-2163-47A8-8E3B-EF8A3712F773}" srcId="{3424847B-90F7-4A0F-9A20-BA40822F5862}" destId="{010AD579-5CEC-4846-A3E6-1A5E4A2ACD8E}" srcOrd="2" destOrd="0" parTransId="{D8EE1FA7-6BB8-475E-81F9-3630343AC4DB}" sibTransId="{CEB79600-B5FB-4CBA-B2D0-82735A79A5E1}"/>
    <dgm:cxn modelId="{4FEF5A6B-4140-4230-821C-1C2D33ED1470}" type="presOf" srcId="{A5D8CD75-727E-48F1-9AEC-CEF8CD3EBF14}" destId="{9892E7C0-90BC-4A4F-AD45-3FC25D3377E9}" srcOrd="0" destOrd="2" presId="urn:microsoft.com/office/officeart/2016/7/layout/VerticalSolidActionList"/>
    <dgm:cxn modelId="{9DDCCA6D-6DD8-4314-A42D-CF3367670B75}" type="presOf" srcId="{E6EBA4E1-6A00-4E8E-B664-3B5FDE8AC197}" destId="{9892E7C0-90BC-4A4F-AD45-3FC25D3377E9}" srcOrd="0" destOrd="1" presId="urn:microsoft.com/office/officeart/2016/7/layout/VerticalSolidActionList"/>
    <dgm:cxn modelId="{6AFF2B4F-9193-482B-AE53-316B4266BB78}" type="presOf" srcId="{33DA524F-D7D1-41BF-8CBB-2A2098B2F807}" destId="{1FEB8353-3F11-472E-A21A-DAC06035FCF0}" srcOrd="0" destOrd="0" presId="urn:microsoft.com/office/officeart/2016/7/layout/VerticalSolidActionList"/>
    <dgm:cxn modelId="{798A2373-1721-42BE-B166-E7C00993FCC9}" type="presOf" srcId="{010AD579-5CEC-4846-A3E6-1A5E4A2ACD8E}" destId="{9892E7C0-90BC-4A4F-AD45-3FC25D3377E9}" srcOrd="0" destOrd="3" presId="urn:microsoft.com/office/officeart/2016/7/layout/VerticalSolidActionList"/>
    <dgm:cxn modelId="{A1473B73-F52C-4F99-AA6C-828FF3B4AB1B}" srcId="{3E2DB9F8-F40E-4CBB-A45C-AB90E561A85E}" destId="{2C612A68-2A29-4CC0-BC08-A6E8539F8786}" srcOrd="1" destOrd="0" parTransId="{24C7D275-EF3A-4A3B-A3E1-DF2F759DAF15}" sibTransId="{59685B78-E101-4427-A7D9-E573CCA204D1}"/>
    <dgm:cxn modelId="{E93A317D-1933-47E3-934E-D003684BCFBA}" type="presOf" srcId="{061F5B9A-23E1-46C9-A42B-6E4F3602AF87}" destId="{F1CF73E8-A83A-445A-B195-C9EB0F7E3E35}" srcOrd="0" destOrd="0" presId="urn:microsoft.com/office/officeart/2016/7/layout/VerticalSolidActionList"/>
    <dgm:cxn modelId="{994F857D-4F3D-49AD-957D-8AECFE7F652F}" type="presOf" srcId="{761E599E-B704-4E74-B8AC-9BFA9BFBB09E}" destId="{F058C04C-D7F7-41E7-ABA7-2F938B949765}" srcOrd="0" destOrd="1" presId="urn:microsoft.com/office/officeart/2016/7/layout/VerticalSolidActionList"/>
    <dgm:cxn modelId="{D3140F81-78F7-4F6F-849F-0926B34909E5}" srcId="{061F5B9A-23E1-46C9-A42B-6E4F3602AF87}" destId="{728C2336-0682-4522-97B8-FF6E103E2CAC}" srcOrd="1" destOrd="0" parTransId="{55E7C7B6-3AAF-401E-B707-77C465FC4FD2}" sibTransId="{6CD818C1-9904-4B0D-B8CA-8A362C96C88E}"/>
    <dgm:cxn modelId="{9CC5A185-7FC7-4C3B-8B8A-295AF56B7BFB}" srcId="{8DF5CEDC-C09F-417C-9AD1-70D73E98A9F4}" destId="{0E1F9485-64C9-4F00-B127-7A54268DE275}" srcOrd="1" destOrd="0" parTransId="{BA2631B6-47EE-4FE2-8BAF-69E4E3B85420}" sibTransId="{F652BC45-5B08-4593-9F59-6A199A69100B}"/>
    <dgm:cxn modelId="{C811DA89-FA86-427D-A518-203CDF52D90E}" type="presOf" srcId="{368A064B-1560-41DE-B706-7D2EA7432519}" destId="{A3EAB7A4-578B-4BF7-BFFF-80314D38BCB8}" srcOrd="0" destOrd="2" presId="urn:microsoft.com/office/officeart/2016/7/layout/VerticalSolidActionList"/>
    <dgm:cxn modelId="{A7644095-7A97-4DD3-B8F3-718D70F29CFB}" srcId="{AA6C23FE-3AFC-4CA7-B57A-B3E4CB36325F}" destId="{FDB9A6B8-031E-4F41-9367-D8ADB60A568A}" srcOrd="2" destOrd="0" parTransId="{84B66E68-59AB-499E-9263-0E4FBAB04E3F}" sibTransId="{AFBB0526-337B-4508-B644-BACAA5CF1718}"/>
    <dgm:cxn modelId="{84BD0697-94DF-4C72-A5C7-313670A33A2A}" type="presOf" srcId="{03CCDF12-E100-4B66-BFE7-9911B1D8D4A8}" destId="{1FEB8353-3F11-472E-A21A-DAC06035FCF0}" srcOrd="0" destOrd="3" presId="urn:microsoft.com/office/officeart/2016/7/layout/VerticalSolidActionList"/>
    <dgm:cxn modelId="{B7972897-8EB2-48F6-936D-792D95444D1E}" type="presOf" srcId="{B3AE7012-133B-4C01-9405-E41643017BCE}" destId="{17E48863-FE76-4043-B6A3-36780E8B4AE1}" srcOrd="0" destOrd="0" presId="urn:microsoft.com/office/officeart/2016/7/layout/VerticalSolidActionList"/>
    <dgm:cxn modelId="{0AF2A298-EA50-4D4B-A34F-024F7AF70EF2}" srcId="{84BA3FFB-B630-4C85-AB10-53DBF20469BC}" destId="{3424847B-90F7-4A0F-9A20-BA40822F5862}" srcOrd="0" destOrd="0" parTransId="{37C27A51-B8EA-4B8F-80BD-089EC62EF536}" sibTransId="{BFB5E6D2-9F4A-4D4C-8F08-B79BE291D1CD}"/>
    <dgm:cxn modelId="{0BBDCFA5-BE70-41B2-8DAB-EC398E167C63}" type="presOf" srcId="{55C0CA65-DB01-44DA-97A1-F547D7B6722C}" destId="{303E2975-6F73-4B1B-AA5F-8E13DE9F14C1}" srcOrd="0" destOrd="1" presId="urn:microsoft.com/office/officeart/2016/7/layout/VerticalSolidActionList"/>
    <dgm:cxn modelId="{93CB7EA9-3AE8-460D-BDA2-B7640A1E1A72}" type="presOf" srcId="{F49D1986-F1BD-4844-8098-3AF9A5E05934}" destId="{A423F3FE-71F7-48E1-B8BE-2D7B962EDD31}" srcOrd="0" destOrd="0" presId="urn:microsoft.com/office/officeart/2016/7/layout/VerticalSolidActionList"/>
    <dgm:cxn modelId="{D37194AF-7EBF-4EE6-84F5-EA3CE2791D11}" srcId="{CFE264FB-92F6-40F6-A93E-6466BADD0D5D}" destId="{8DF5CEDC-C09F-417C-9AD1-70D73E98A9F4}" srcOrd="3" destOrd="0" parTransId="{B45F4BAE-07A4-42EB-B1E7-84EE71C08942}" sibTransId="{9E87E0A6-6BA7-496C-8490-D7C9D3DF50FD}"/>
    <dgm:cxn modelId="{844D77B3-CF71-4833-975B-F32DD142435B}" srcId="{061F5B9A-23E1-46C9-A42B-6E4F3602AF87}" destId="{8666D3BD-D28C-4932-8ACF-6F887C88D058}" srcOrd="3" destOrd="0" parTransId="{2C563C19-1460-4733-9C08-C272D81B9762}" sibTransId="{C2B23A3A-6D93-4839-8664-48E027F42146}"/>
    <dgm:cxn modelId="{7996AFB4-A6D4-4FB2-B924-6832D4F150C8}" type="presOf" srcId="{8666D3BD-D28C-4932-8ACF-6F887C88D058}" destId="{A3EAB7A4-578B-4BF7-BFFF-80314D38BCB8}" srcOrd="0" destOrd="3" presId="urn:microsoft.com/office/officeart/2016/7/layout/VerticalSolidActionList"/>
    <dgm:cxn modelId="{356B88C0-2FD9-4DBA-9871-BD737188E593}" srcId="{061F5B9A-23E1-46C9-A42B-6E4F3602AF87}" destId="{368A064B-1560-41DE-B706-7D2EA7432519}" srcOrd="2" destOrd="0" parTransId="{FC9F15F2-4F61-4FC7-A301-CE5908F6D266}" sibTransId="{7BC35079-A357-4F88-9FF9-E5F96E4344E8}"/>
    <dgm:cxn modelId="{ABA889C0-AE81-4751-A7AD-7EDE8629C818}" srcId="{CFE264FB-92F6-40F6-A93E-6466BADD0D5D}" destId="{F49D1986-F1BD-4844-8098-3AF9A5E05934}" srcOrd="2" destOrd="0" parTransId="{8C31E2ED-CDD4-4300-B3F3-25A09ADBA557}" sibTransId="{74BA41D5-073A-4922-975F-6E20E8A3894D}"/>
    <dgm:cxn modelId="{0D71BAC6-289E-48D6-B8C8-4A2C9CDAD0DC}" srcId="{3424847B-90F7-4A0F-9A20-BA40822F5862}" destId="{A5D8CD75-727E-48F1-9AEC-CEF8CD3EBF14}" srcOrd="1" destOrd="0" parTransId="{768146F8-9506-47C4-BFF0-D504C69B93DA}" sibTransId="{6F3046EA-EDAF-43AE-862A-C1BABFA9B3A4}"/>
    <dgm:cxn modelId="{8D8D18C7-285F-40A3-8554-2A1B71EF74CE}" type="presOf" srcId="{8DF5CEDC-C09F-417C-9AD1-70D73E98A9F4}" destId="{C34352FB-852F-4078-B77C-1308271B8517}" srcOrd="0" destOrd="0" presId="urn:microsoft.com/office/officeart/2016/7/layout/VerticalSolidActionList"/>
    <dgm:cxn modelId="{4303C5D0-EBF9-44B6-A247-38C1A4B7B3ED}" type="presOf" srcId="{3E2DB9F8-F40E-4CBB-A45C-AB90E561A85E}" destId="{F058C04C-D7F7-41E7-ABA7-2F938B949765}" srcOrd="0" destOrd="0" presId="urn:microsoft.com/office/officeart/2016/7/layout/VerticalSolidActionList"/>
    <dgm:cxn modelId="{4623A4D3-6C8A-4BBE-B1D1-7DDA5399692A}" srcId="{8DF5CEDC-C09F-417C-9AD1-70D73E98A9F4}" destId="{33DA524F-D7D1-41BF-8CBB-2A2098B2F807}" srcOrd="0" destOrd="0" parTransId="{BB0E80D6-82AB-46C9-B8EF-ECBC457CAD01}" sibTransId="{181BC89C-AFBA-4DA9-B77F-792B94932023}"/>
    <dgm:cxn modelId="{C2B9E7D3-2966-4FF6-BBCF-2C9653399796}" type="presOf" srcId="{8856F789-71BC-4EEE-B630-60293E0FF3E4}" destId="{1FEB8353-3F11-472E-A21A-DAC06035FCF0}" srcOrd="0" destOrd="2" presId="urn:microsoft.com/office/officeart/2016/7/layout/VerticalSolidActionList"/>
    <dgm:cxn modelId="{A7D19CDB-B2F2-4207-9988-1DDC057D1F56}" type="presOf" srcId="{728C2336-0682-4522-97B8-FF6E103E2CAC}" destId="{A3EAB7A4-578B-4BF7-BFFF-80314D38BCB8}" srcOrd="0" destOrd="1" presId="urn:microsoft.com/office/officeart/2016/7/layout/VerticalSolidActionList"/>
    <dgm:cxn modelId="{8A32DEE9-035C-4F9C-8957-A386B1CB7226}" type="presOf" srcId="{84BA3FFB-B630-4C85-AB10-53DBF20469BC}" destId="{97025708-ABA2-43ED-A0D1-8F20AAFE64BC}" srcOrd="0" destOrd="0" presId="urn:microsoft.com/office/officeart/2016/7/layout/VerticalSolidActionList"/>
    <dgm:cxn modelId="{83C933EC-4E8C-4670-B58C-7BCA2819F034}" srcId="{AA6C23FE-3AFC-4CA7-B57A-B3E4CB36325F}" destId="{55C0CA65-DB01-44DA-97A1-F547D7B6722C}" srcOrd="0" destOrd="0" parTransId="{94288A9D-9C75-495F-8864-19EA59A9C528}" sibTransId="{53947D06-85B2-46CB-B839-FEDEF36A570B}"/>
    <dgm:cxn modelId="{C71363F0-C235-4E7E-B08C-F159A5FF69E0}" srcId="{061F5B9A-23E1-46C9-A42B-6E4F3602AF87}" destId="{B7AFB916-4B99-49DA-B692-8AA34C442791}" srcOrd="0" destOrd="0" parTransId="{D33C7F5B-4574-4D99-9174-BAC0F1F00278}" sibTransId="{93F57A39-887B-4060-8AD3-4734C4FDAEE1}"/>
    <dgm:cxn modelId="{5EE038F9-7499-47D8-B6D5-65E5B571407C}" srcId="{F49D1986-F1BD-4844-8098-3AF9A5E05934}" destId="{3E2DB9F8-F40E-4CBB-A45C-AB90E561A85E}" srcOrd="0" destOrd="0" parTransId="{C39587FB-30DA-4A9D-B3A8-20E76147CB4F}" sibTransId="{0CDD89BF-51D5-4E3F-B070-24F5A583124A}"/>
    <dgm:cxn modelId="{B9289DFC-018D-43F0-8695-4ECC09E45F46}" srcId="{8DF5CEDC-C09F-417C-9AD1-70D73E98A9F4}" destId="{8856F789-71BC-4EEE-B630-60293E0FF3E4}" srcOrd="2" destOrd="0" parTransId="{806D1832-CCD1-4894-9FB7-49A11AAB376C}" sibTransId="{40A5F287-907B-4631-B5E1-5074B07A6EF1}"/>
    <dgm:cxn modelId="{B8136EC9-C469-44BC-BACE-2F8AEF097CEC}" type="presParOf" srcId="{DA3D43D2-2A5F-4BAE-A099-978B4D582118}" destId="{D49E2F01-1BB8-49A7-BBC0-E587C2C104D6}" srcOrd="0" destOrd="0" presId="urn:microsoft.com/office/officeart/2016/7/layout/VerticalSolidActionList"/>
    <dgm:cxn modelId="{51C2A865-30B9-452B-A4A8-3DF2AB1168A6}" type="presParOf" srcId="{D49E2F01-1BB8-49A7-BBC0-E587C2C104D6}" destId="{17E48863-FE76-4043-B6A3-36780E8B4AE1}" srcOrd="0" destOrd="0" presId="urn:microsoft.com/office/officeart/2016/7/layout/VerticalSolidActionList"/>
    <dgm:cxn modelId="{A94E3843-9C1E-4BB3-A8BF-6EF30D41D026}" type="presParOf" srcId="{D49E2F01-1BB8-49A7-BBC0-E587C2C104D6}" destId="{303E2975-6F73-4B1B-AA5F-8E13DE9F14C1}" srcOrd="1" destOrd="0" presId="urn:microsoft.com/office/officeart/2016/7/layout/VerticalSolidActionList"/>
    <dgm:cxn modelId="{290FCAD5-D132-46AE-B53A-B01F10002C29}" type="presParOf" srcId="{DA3D43D2-2A5F-4BAE-A099-978B4D582118}" destId="{758C2711-DA3C-46E9-AEF2-06D7909398CE}" srcOrd="1" destOrd="0" presId="urn:microsoft.com/office/officeart/2016/7/layout/VerticalSolidActionList"/>
    <dgm:cxn modelId="{5D83344C-9745-4C34-B892-B659E5672C6C}" type="presParOf" srcId="{DA3D43D2-2A5F-4BAE-A099-978B4D582118}" destId="{933A8F98-8208-49AC-A2EB-7BE236485520}" srcOrd="2" destOrd="0" presId="urn:microsoft.com/office/officeart/2016/7/layout/VerticalSolidActionList"/>
    <dgm:cxn modelId="{30C29B12-DC0F-4E64-968B-BE47157305DC}" type="presParOf" srcId="{933A8F98-8208-49AC-A2EB-7BE236485520}" destId="{97025708-ABA2-43ED-A0D1-8F20AAFE64BC}" srcOrd="0" destOrd="0" presId="urn:microsoft.com/office/officeart/2016/7/layout/VerticalSolidActionList"/>
    <dgm:cxn modelId="{CF5E9FB1-27AC-4537-BE7C-ED16559ACD6F}" type="presParOf" srcId="{933A8F98-8208-49AC-A2EB-7BE236485520}" destId="{9892E7C0-90BC-4A4F-AD45-3FC25D3377E9}" srcOrd="1" destOrd="0" presId="urn:microsoft.com/office/officeart/2016/7/layout/VerticalSolidActionList"/>
    <dgm:cxn modelId="{1E08C4CA-FC78-4817-88D5-501E41C2E6D4}" type="presParOf" srcId="{DA3D43D2-2A5F-4BAE-A099-978B4D582118}" destId="{AD3DF2C2-8E20-4E98-8B77-98BF33C6D201}" srcOrd="3" destOrd="0" presId="urn:microsoft.com/office/officeart/2016/7/layout/VerticalSolidActionList"/>
    <dgm:cxn modelId="{42DF3D38-084E-436B-BC38-4FC26DA10F29}" type="presParOf" srcId="{DA3D43D2-2A5F-4BAE-A099-978B4D582118}" destId="{02AD25F4-2613-42E3-892F-A5611CCA4D3A}" srcOrd="4" destOrd="0" presId="urn:microsoft.com/office/officeart/2016/7/layout/VerticalSolidActionList"/>
    <dgm:cxn modelId="{52524223-3837-4745-BC08-963FDE58BDCF}" type="presParOf" srcId="{02AD25F4-2613-42E3-892F-A5611CCA4D3A}" destId="{A423F3FE-71F7-48E1-B8BE-2D7B962EDD31}" srcOrd="0" destOrd="0" presId="urn:microsoft.com/office/officeart/2016/7/layout/VerticalSolidActionList"/>
    <dgm:cxn modelId="{F5235DF8-BF1F-4BD3-9BD6-3A9D93E9FA15}" type="presParOf" srcId="{02AD25F4-2613-42E3-892F-A5611CCA4D3A}" destId="{F058C04C-D7F7-41E7-ABA7-2F938B949765}" srcOrd="1" destOrd="0" presId="urn:microsoft.com/office/officeart/2016/7/layout/VerticalSolidActionList"/>
    <dgm:cxn modelId="{C889E388-F796-4529-9E78-0C1BD7707416}" type="presParOf" srcId="{DA3D43D2-2A5F-4BAE-A099-978B4D582118}" destId="{235D3EDB-BCF1-42C0-BCEB-24054A3DAE76}" srcOrd="5" destOrd="0" presId="urn:microsoft.com/office/officeart/2016/7/layout/VerticalSolidActionList"/>
    <dgm:cxn modelId="{62A87D3F-7E82-4A25-A3D4-95DAAAB04E14}" type="presParOf" srcId="{DA3D43D2-2A5F-4BAE-A099-978B4D582118}" destId="{6B4AE8CB-6D5E-42F1-A154-2D174FCA350C}" srcOrd="6" destOrd="0" presId="urn:microsoft.com/office/officeart/2016/7/layout/VerticalSolidActionList"/>
    <dgm:cxn modelId="{5897E062-659A-4263-8F96-950D9C4D3AC9}" type="presParOf" srcId="{6B4AE8CB-6D5E-42F1-A154-2D174FCA350C}" destId="{C34352FB-852F-4078-B77C-1308271B8517}" srcOrd="0" destOrd="0" presId="urn:microsoft.com/office/officeart/2016/7/layout/VerticalSolidActionList"/>
    <dgm:cxn modelId="{09E304ED-4482-4F69-974C-B6082CB4A360}" type="presParOf" srcId="{6B4AE8CB-6D5E-42F1-A154-2D174FCA350C}" destId="{1FEB8353-3F11-472E-A21A-DAC06035FCF0}" srcOrd="1" destOrd="0" presId="urn:microsoft.com/office/officeart/2016/7/layout/VerticalSolidActionList"/>
    <dgm:cxn modelId="{8D8F0704-F62A-42DF-B15F-EEA0773795A1}" type="presParOf" srcId="{DA3D43D2-2A5F-4BAE-A099-978B4D582118}" destId="{3DA8FC72-3A65-4AE7-8630-70499AD2947E}" srcOrd="7" destOrd="0" presId="urn:microsoft.com/office/officeart/2016/7/layout/VerticalSolidActionList"/>
    <dgm:cxn modelId="{38899665-CAE2-4C70-833C-2DD1C582CA7E}" type="presParOf" srcId="{DA3D43D2-2A5F-4BAE-A099-978B4D582118}" destId="{A865A9AA-D71A-4012-9C88-8140F548044D}" srcOrd="8" destOrd="0" presId="urn:microsoft.com/office/officeart/2016/7/layout/VerticalSolidActionList"/>
    <dgm:cxn modelId="{A6288460-BAFB-42BC-9244-66CC62BA1BFB}" type="presParOf" srcId="{A865A9AA-D71A-4012-9C88-8140F548044D}" destId="{F1CF73E8-A83A-445A-B195-C9EB0F7E3E35}" srcOrd="0" destOrd="0" presId="urn:microsoft.com/office/officeart/2016/7/layout/VerticalSolidActionList"/>
    <dgm:cxn modelId="{343D1CC9-CA9A-4653-BA41-2EEA3153DB9A}" type="presParOf" srcId="{A865A9AA-D71A-4012-9C88-8140F548044D}" destId="{A3EAB7A4-578B-4BF7-BFFF-80314D38BCB8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13547F3-A9E8-4430-A461-23B02E7E66A2}" type="doc">
      <dgm:prSet loTypeId="urn:microsoft.com/office/officeart/2018/2/layout/IconLabelList" loCatId="icon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F27CBBDE-E703-4EF2-AFD3-81466865913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>
              <a:solidFill>
                <a:schemeClr val="bg1"/>
              </a:solidFill>
            </a:rPr>
            <a:t>Technical notes </a:t>
          </a:r>
          <a:r>
            <a:rPr lang="en-GB" sz="1400">
              <a:solidFill>
                <a:schemeClr val="bg1"/>
              </a:solidFill>
            </a:rPr>
            <a:t>reporting the result of the activity</a:t>
          </a:r>
          <a:endParaRPr lang="en-US" sz="1400">
            <a:solidFill>
              <a:schemeClr val="bg1"/>
            </a:solidFill>
          </a:endParaRPr>
        </a:p>
      </dgm:t>
    </dgm:pt>
    <dgm:pt modelId="{80116238-7D02-4CF2-B7BD-DDD3B35CCDDB}" type="parTrans" cxnId="{4C76D309-1FBF-45B1-80F7-10BBF9DA2B4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0C53C5A-2BBC-42AC-8BE9-85BB2A113C0E}" type="sibTrans" cxnId="{4C76D309-1FBF-45B1-80F7-10BBF9DA2B4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F6AA226-3965-45E9-A681-FC4A42C55D6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>
              <a:solidFill>
                <a:schemeClr val="bg1"/>
              </a:solidFill>
            </a:rPr>
            <a:t>Requirements</a:t>
          </a:r>
          <a:r>
            <a:rPr lang="en-GB" sz="1400">
              <a:solidFill>
                <a:schemeClr val="bg1"/>
              </a:solidFill>
            </a:rPr>
            <a:t> for future procurements</a:t>
          </a:r>
          <a:endParaRPr lang="en-US" sz="1400">
            <a:solidFill>
              <a:schemeClr val="bg1"/>
            </a:solidFill>
          </a:endParaRPr>
        </a:p>
      </dgm:t>
    </dgm:pt>
    <dgm:pt modelId="{5F59C8A4-CF32-4679-ABCD-789D0879CD1F}" type="parTrans" cxnId="{939C92C3-6067-4C7E-AAA0-91644E8E904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C283242-7034-41BD-90F7-B784509D325D}" type="sibTrans" cxnId="{939C92C3-6067-4C7E-AAA0-91644E8E904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AB49303-012A-4354-89D0-65ECFF220C8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>
              <a:solidFill>
                <a:schemeClr val="bg1"/>
              </a:solidFill>
            </a:rPr>
            <a:t>Guiding</a:t>
          </a:r>
          <a:r>
            <a:rPr lang="en-GB" sz="1400">
              <a:solidFill>
                <a:schemeClr val="bg1"/>
              </a:solidFill>
            </a:rPr>
            <a:t> the short time </a:t>
          </a:r>
          <a:r>
            <a:rPr lang="en-GB" sz="1400" b="1">
              <a:solidFill>
                <a:schemeClr val="bg1"/>
              </a:solidFill>
            </a:rPr>
            <a:t>evolution</a:t>
          </a:r>
          <a:r>
            <a:rPr lang="en-GB" sz="1400">
              <a:solidFill>
                <a:schemeClr val="bg1"/>
              </a:solidFill>
            </a:rPr>
            <a:t> of currently used elements (e.g. catalog)</a:t>
          </a:r>
          <a:endParaRPr lang="en-US" sz="1400">
            <a:solidFill>
              <a:schemeClr val="bg1"/>
            </a:solidFill>
          </a:endParaRPr>
        </a:p>
      </dgm:t>
    </dgm:pt>
    <dgm:pt modelId="{4A5CAA04-E0DF-44FB-8B6B-1D6117DDC058}" type="parTrans" cxnId="{4826EFFD-2B89-4BE7-8397-1E7E6F15A16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05F8EC6-2778-4AED-934A-ED3BF643142A}" type="sibTrans" cxnId="{4826EFFD-2B89-4BE7-8397-1E7E6F15A16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4DBFFE1-8907-4601-9319-42013B8AD85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1">
              <a:solidFill>
                <a:schemeClr val="bg1"/>
              </a:solidFill>
            </a:rPr>
            <a:t>Transfer to operation </a:t>
          </a:r>
          <a:r>
            <a:rPr lang="en-GB" sz="1400">
              <a:solidFill>
                <a:schemeClr val="bg1"/>
              </a:solidFill>
            </a:rPr>
            <a:t>of validated findings (quick wins)</a:t>
          </a:r>
          <a:endParaRPr lang="en-US" sz="1400">
            <a:solidFill>
              <a:schemeClr val="bg1"/>
            </a:solidFill>
          </a:endParaRPr>
        </a:p>
      </dgm:t>
    </dgm:pt>
    <dgm:pt modelId="{40524AF9-4806-4852-9C53-651E7CECDB9E}" type="parTrans" cxnId="{233C20C8-59D6-4FE2-85DD-CD3F4CF635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26E3985-74DC-4532-AE70-AE7AB710E894}" type="sibTrans" cxnId="{233C20C8-59D6-4FE2-85DD-CD3F4CF635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796929EB-4C58-436B-A4D0-485B9CFEC0B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>
              <a:solidFill>
                <a:schemeClr val="bg1"/>
              </a:solidFill>
            </a:rPr>
            <a:t>Awareness and </a:t>
          </a:r>
          <a:r>
            <a:rPr lang="en-GB" sz="1400" b="1">
              <a:solidFill>
                <a:schemeClr val="bg1"/>
              </a:solidFill>
            </a:rPr>
            <a:t>industrial fostering</a:t>
          </a:r>
          <a:endParaRPr lang="en-US" sz="1400" b="1">
            <a:solidFill>
              <a:schemeClr val="bg1"/>
            </a:solidFill>
          </a:endParaRPr>
        </a:p>
      </dgm:t>
    </dgm:pt>
    <dgm:pt modelId="{69A6A2A0-2D6C-41A5-B450-358FFD0C8B14}" type="parTrans" cxnId="{E5360D4A-6546-4FFC-9674-5CBF32DE41D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F5C2E46-C538-4E91-A140-6F1E26E51A25}" type="sibTrans" cxnId="{E5360D4A-6546-4FFC-9674-5CBF32DE41D1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671D6AB2-7597-4AF4-A32D-005F891FA299}" type="pres">
      <dgm:prSet presAssocID="{013547F3-A9E8-4430-A461-23B02E7E66A2}" presName="root" presStyleCnt="0">
        <dgm:presLayoutVars>
          <dgm:dir/>
          <dgm:resizeHandles val="exact"/>
        </dgm:presLayoutVars>
      </dgm:prSet>
      <dgm:spPr/>
    </dgm:pt>
    <dgm:pt modelId="{4A0BCDA9-14C1-4181-BCF9-C2175BBBD567}" type="pres">
      <dgm:prSet presAssocID="{F27CBBDE-E703-4EF2-AFD3-814668659131}" presName="compNode" presStyleCnt="0"/>
      <dgm:spPr/>
    </dgm:pt>
    <dgm:pt modelId="{7ADB8232-585E-4916-AB18-5CDE7BD5163D}" type="pres">
      <dgm:prSet presAssocID="{F27CBBDE-E703-4EF2-AFD3-814668659131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D72FFD94-F577-47D0-9D86-F2CCB230BEAD}" type="pres">
      <dgm:prSet presAssocID="{F27CBBDE-E703-4EF2-AFD3-814668659131}" presName="spaceRect" presStyleCnt="0"/>
      <dgm:spPr/>
    </dgm:pt>
    <dgm:pt modelId="{92F2CC25-799F-4018-ADB1-6569988E44CD}" type="pres">
      <dgm:prSet presAssocID="{F27CBBDE-E703-4EF2-AFD3-814668659131}" presName="textRect" presStyleLbl="revTx" presStyleIdx="0" presStyleCnt="5">
        <dgm:presLayoutVars>
          <dgm:chMax val="1"/>
          <dgm:chPref val="1"/>
        </dgm:presLayoutVars>
      </dgm:prSet>
      <dgm:spPr/>
    </dgm:pt>
    <dgm:pt modelId="{2944D205-5A58-4769-8826-E99A84BDDFDA}" type="pres">
      <dgm:prSet presAssocID="{00C53C5A-2BBC-42AC-8BE9-85BB2A113C0E}" presName="sibTrans" presStyleCnt="0"/>
      <dgm:spPr/>
    </dgm:pt>
    <dgm:pt modelId="{C1B6DB34-7F9D-4E3B-A845-68356AC1E046}" type="pres">
      <dgm:prSet presAssocID="{2F6AA226-3965-45E9-A681-FC4A42C55D61}" presName="compNode" presStyleCnt="0"/>
      <dgm:spPr/>
    </dgm:pt>
    <dgm:pt modelId="{34DCF65F-FCA1-4B61-AAF5-F0DA31DB4E3F}" type="pres">
      <dgm:prSet presAssocID="{2F6AA226-3965-45E9-A681-FC4A42C55D61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ment Add with solid fill"/>
        </a:ext>
      </dgm:extLst>
    </dgm:pt>
    <dgm:pt modelId="{22318949-39D0-42E0-9C57-870548221603}" type="pres">
      <dgm:prSet presAssocID="{2F6AA226-3965-45E9-A681-FC4A42C55D61}" presName="spaceRect" presStyleCnt="0"/>
      <dgm:spPr/>
    </dgm:pt>
    <dgm:pt modelId="{90FCCBBA-5F2E-4408-8EF5-58E94A8F5572}" type="pres">
      <dgm:prSet presAssocID="{2F6AA226-3965-45E9-A681-FC4A42C55D61}" presName="textRect" presStyleLbl="revTx" presStyleIdx="1" presStyleCnt="5">
        <dgm:presLayoutVars>
          <dgm:chMax val="1"/>
          <dgm:chPref val="1"/>
        </dgm:presLayoutVars>
      </dgm:prSet>
      <dgm:spPr/>
    </dgm:pt>
    <dgm:pt modelId="{62223BF4-6D3B-4D76-88E8-A00615D8A0E9}" type="pres">
      <dgm:prSet presAssocID="{3C283242-7034-41BD-90F7-B784509D325D}" presName="sibTrans" presStyleCnt="0"/>
      <dgm:spPr/>
    </dgm:pt>
    <dgm:pt modelId="{1F507390-213A-454D-8772-83C09099066A}" type="pres">
      <dgm:prSet presAssocID="{AAB49303-012A-4354-89D0-65ECFF220C83}" presName="compNode" presStyleCnt="0"/>
      <dgm:spPr/>
    </dgm:pt>
    <dgm:pt modelId="{23EE67C6-340D-46E8-BDA7-4DDA217D71B1}" type="pres">
      <dgm:prSet presAssocID="{AAB49303-012A-4354-89D0-65ECFF220C83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mpass with solid fill"/>
        </a:ext>
      </dgm:extLst>
    </dgm:pt>
    <dgm:pt modelId="{8C0F04BD-BB7E-4D1B-90F0-926900266763}" type="pres">
      <dgm:prSet presAssocID="{AAB49303-012A-4354-89D0-65ECFF220C83}" presName="spaceRect" presStyleCnt="0"/>
      <dgm:spPr/>
    </dgm:pt>
    <dgm:pt modelId="{DD3F3485-9A9B-4960-8E61-A2EE023BF5BD}" type="pres">
      <dgm:prSet presAssocID="{AAB49303-012A-4354-89D0-65ECFF220C83}" presName="textRect" presStyleLbl="revTx" presStyleIdx="2" presStyleCnt="5">
        <dgm:presLayoutVars>
          <dgm:chMax val="1"/>
          <dgm:chPref val="1"/>
        </dgm:presLayoutVars>
      </dgm:prSet>
      <dgm:spPr/>
    </dgm:pt>
    <dgm:pt modelId="{CD5E282D-DC9A-489E-932C-B3B4390D5DD7}" type="pres">
      <dgm:prSet presAssocID="{505F8EC6-2778-4AED-934A-ED3BF643142A}" presName="sibTrans" presStyleCnt="0"/>
      <dgm:spPr/>
    </dgm:pt>
    <dgm:pt modelId="{D55A7D6E-E690-46EC-B6BC-BE2947A2CCAC}" type="pres">
      <dgm:prSet presAssocID="{24DBFFE1-8907-4601-9319-42013B8AD858}" presName="compNode" presStyleCnt="0"/>
      <dgm:spPr/>
    </dgm:pt>
    <dgm:pt modelId="{08082D22-F30D-4A63-8D3E-D4809A552C31}" type="pres">
      <dgm:prSet presAssocID="{24DBFFE1-8907-4601-9319-42013B8AD858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ircles with arrows with solid fill"/>
        </a:ext>
      </dgm:extLst>
    </dgm:pt>
    <dgm:pt modelId="{86D90D14-979B-4469-9415-2E1868D2DBBE}" type="pres">
      <dgm:prSet presAssocID="{24DBFFE1-8907-4601-9319-42013B8AD858}" presName="spaceRect" presStyleCnt="0"/>
      <dgm:spPr/>
    </dgm:pt>
    <dgm:pt modelId="{1846C395-1A8E-4452-A446-5892CF63AEBA}" type="pres">
      <dgm:prSet presAssocID="{24DBFFE1-8907-4601-9319-42013B8AD858}" presName="textRect" presStyleLbl="revTx" presStyleIdx="3" presStyleCnt="5">
        <dgm:presLayoutVars>
          <dgm:chMax val="1"/>
          <dgm:chPref val="1"/>
        </dgm:presLayoutVars>
      </dgm:prSet>
      <dgm:spPr/>
    </dgm:pt>
    <dgm:pt modelId="{AFD2DEE6-5CB5-4C28-A43C-87EA800E1146}" type="pres">
      <dgm:prSet presAssocID="{026E3985-74DC-4532-AE70-AE7AB710E894}" presName="sibTrans" presStyleCnt="0"/>
      <dgm:spPr/>
    </dgm:pt>
    <dgm:pt modelId="{B0BF5E64-5249-49C8-BED4-9341927BE72B}" type="pres">
      <dgm:prSet presAssocID="{796929EB-4C58-436B-A4D0-485B9CFEC0B3}" presName="compNode" presStyleCnt="0"/>
      <dgm:spPr/>
    </dgm:pt>
    <dgm:pt modelId="{10D7C2B5-FFCA-419B-A6A4-D86DE11535EF}" type="pres">
      <dgm:prSet presAssocID="{796929EB-4C58-436B-A4D0-485B9CFEC0B3}" presName="iconRect" presStyleLbl="node1" presStyleIdx="4" presStyleCnt="5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duction with solid fill"/>
        </a:ext>
      </dgm:extLst>
    </dgm:pt>
    <dgm:pt modelId="{EB20B1CA-1A95-4A42-ABF6-CCC7C9E20A72}" type="pres">
      <dgm:prSet presAssocID="{796929EB-4C58-436B-A4D0-485B9CFEC0B3}" presName="spaceRect" presStyleCnt="0"/>
      <dgm:spPr/>
    </dgm:pt>
    <dgm:pt modelId="{EAD2F94D-C0CC-4F9C-B599-42A25199AD01}" type="pres">
      <dgm:prSet presAssocID="{796929EB-4C58-436B-A4D0-485B9CFEC0B3}" presName="textRect" presStyleLbl="revTx" presStyleIdx="4" presStyleCnt="5">
        <dgm:presLayoutVars>
          <dgm:chMax val="1"/>
          <dgm:chPref val="1"/>
        </dgm:presLayoutVars>
      </dgm:prSet>
      <dgm:spPr/>
    </dgm:pt>
  </dgm:ptLst>
  <dgm:cxnLst>
    <dgm:cxn modelId="{4C76D309-1FBF-45B1-80F7-10BBF9DA2B47}" srcId="{013547F3-A9E8-4430-A461-23B02E7E66A2}" destId="{F27CBBDE-E703-4EF2-AFD3-814668659131}" srcOrd="0" destOrd="0" parTransId="{80116238-7D02-4CF2-B7BD-DDD3B35CCDDB}" sibTransId="{00C53C5A-2BBC-42AC-8BE9-85BB2A113C0E}"/>
    <dgm:cxn modelId="{772A2B3E-E629-49BB-BF57-B4BF460F6CFE}" type="presOf" srcId="{AAB49303-012A-4354-89D0-65ECFF220C83}" destId="{DD3F3485-9A9B-4960-8E61-A2EE023BF5BD}" srcOrd="0" destOrd="0" presId="urn:microsoft.com/office/officeart/2018/2/layout/IconLabelList"/>
    <dgm:cxn modelId="{755D6062-31D7-4C2A-9485-4EFC00000CDC}" type="presOf" srcId="{2F6AA226-3965-45E9-A681-FC4A42C55D61}" destId="{90FCCBBA-5F2E-4408-8EF5-58E94A8F5572}" srcOrd="0" destOrd="0" presId="urn:microsoft.com/office/officeart/2018/2/layout/IconLabelList"/>
    <dgm:cxn modelId="{E5360D4A-6546-4FFC-9674-5CBF32DE41D1}" srcId="{013547F3-A9E8-4430-A461-23B02E7E66A2}" destId="{796929EB-4C58-436B-A4D0-485B9CFEC0B3}" srcOrd="4" destOrd="0" parTransId="{69A6A2A0-2D6C-41A5-B450-358FFD0C8B14}" sibTransId="{2F5C2E46-C538-4E91-A140-6F1E26E51A25}"/>
    <dgm:cxn modelId="{E75DDF71-64F9-4EA7-BA87-75F3714947F2}" type="presOf" srcId="{013547F3-A9E8-4430-A461-23B02E7E66A2}" destId="{671D6AB2-7597-4AF4-A32D-005F891FA299}" srcOrd="0" destOrd="0" presId="urn:microsoft.com/office/officeart/2018/2/layout/IconLabelList"/>
    <dgm:cxn modelId="{36A1C45A-BB52-41F1-BDCF-D722D9DAFFA7}" type="presOf" srcId="{24DBFFE1-8907-4601-9319-42013B8AD858}" destId="{1846C395-1A8E-4452-A446-5892CF63AEBA}" srcOrd="0" destOrd="0" presId="urn:microsoft.com/office/officeart/2018/2/layout/IconLabelList"/>
    <dgm:cxn modelId="{380E72B3-45F9-451B-9F60-9476FF97DA14}" type="presOf" srcId="{F27CBBDE-E703-4EF2-AFD3-814668659131}" destId="{92F2CC25-799F-4018-ADB1-6569988E44CD}" srcOrd="0" destOrd="0" presId="urn:microsoft.com/office/officeart/2018/2/layout/IconLabelList"/>
    <dgm:cxn modelId="{939C92C3-6067-4C7E-AAA0-91644E8E904B}" srcId="{013547F3-A9E8-4430-A461-23B02E7E66A2}" destId="{2F6AA226-3965-45E9-A681-FC4A42C55D61}" srcOrd="1" destOrd="0" parTransId="{5F59C8A4-CF32-4679-ABCD-789D0879CD1F}" sibTransId="{3C283242-7034-41BD-90F7-B784509D325D}"/>
    <dgm:cxn modelId="{0245EEC7-FD7D-4AE5-82FC-8EE0594CD46F}" type="presOf" srcId="{796929EB-4C58-436B-A4D0-485B9CFEC0B3}" destId="{EAD2F94D-C0CC-4F9C-B599-42A25199AD01}" srcOrd="0" destOrd="0" presId="urn:microsoft.com/office/officeart/2018/2/layout/IconLabelList"/>
    <dgm:cxn modelId="{233C20C8-59D6-4FE2-85DD-CD3F4CF635BF}" srcId="{013547F3-A9E8-4430-A461-23B02E7E66A2}" destId="{24DBFFE1-8907-4601-9319-42013B8AD858}" srcOrd="3" destOrd="0" parTransId="{40524AF9-4806-4852-9C53-651E7CECDB9E}" sibTransId="{026E3985-74DC-4532-AE70-AE7AB710E894}"/>
    <dgm:cxn modelId="{4826EFFD-2B89-4BE7-8397-1E7E6F15A16B}" srcId="{013547F3-A9E8-4430-A461-23B02E7E66A2}" destId="{AAB49303-012A-4354-89D0-65ECFF220C83}" srcOrd="2" destOrd="0" parTransId="{4A5CAA04-E0DF-44FB-8B6B-1D6117DDC058}" sibTransId="{505F8EC6-2778-4AED-934A-ED3BF643142A}"/>
    <dgm:cxn modelId="{E2870253-8D18-403B-B932-08ACC8626946}" type="presParOf" srcId="{671D6AB2-7597-4AF4-A32D-005F891FA299}" destId="{4A0BCDA9-14C1-4181-BCF9-C2175BBBD567}" srcOrd="0" destOrd="0" presId="urn:microsoft.com/office/officeart/2018/2/layout/IconLabelList"/>
    <dgm:cxn modelId="{2397B168-6CFE-4A5C-9A42-AC1EF846D6BE}" type="presParOf" srcId="{4A0BCDA9-14C1-4181-BCF9-C2175BBBD567}" destId="{7ADB8232-585E-4916-AB18-5CDE7BD5163D}" srcOrd="0" destOrd="0" presId="urn:microsoft.com/office/officeart/2018/2/layout/IconLabelList"/>
    <dgm:cxn modelId="{D3A5E214-4D38-4ADE-8AA1-577A6321D154}" type="presParOf" srcId="{4A0BCDA9-14C1-4181-BCF9-C2175BBBD567}" destId="{D72FFD94-F577-47D0-9D86-F2CCB230BEAD}" srcOrd="1" destOrd="0" presId="urn:microsoft.com/office/officeart/2018/2/layout/IconLabelList"/>
    <dgm:cxn modelId="{FF9DC42E-8AB5-47AB-943F-343F39F69B1C}" type="presParOf" srcId="{4A0BCDA9-14C1-4181-BCF9-C2175BBBD567}" destId="{92F2CC25-799F-4018-ADB1-6569988E44CD}" srcOrd="2" destOrd="0" presId="urn:microsoft.com/office/officeart/2018/2/layout/IconLabelList"/>
    <dgm:cxn modelId="{AD382C7C-8966-4480-8A29-B67FA34F312C}" type="presParOf" srcId="{671D6AB2-7597-4AF4-A32D-005F891FA299}" destId="{2944D205-5A58-4769-8826-E99A84BDDFDA}" srcOrd="1" destOrd="0" presId="urn:microsoft.com/office/officeart/2018/2/layout/IconLabelList"/>
    <dgm:cxn modelId="{D3A29ABF-EB0E-43D9-B528-6348CB3F7792}" type="presParOf" srcId="{671D6AB2-7597-4AF4-A32D-005F891FA299}" destId="{C1B6DB34-7F9D-4E3B-A845-68356AC1E046}" srcOrd="2" destOrd="0" presId="urn:microsoft.com/office/officeart/2018/2/layout/IconLabelList"/>
    <dgm:cxn modelId="{6551D063-4037-48FD-B3FF-B2D7BA2FC30C}" type="presParOf" srcId="{C1B6DB34-7F9D-4E3B-A845-68356AC1E046}" destId="{34DCF65F-FCA1-4B61-AAF5-F0DA31DB4E3F}" srcOrd="0" destOrd="0" presId="urn:microsoft.com/office/officeart/2018/2/layout/IconLabelList"/>
    <dgm:cxn modelId="{A966C2EF-EC4B-4FC4-A8C5-24A8249FFF7E}" type="presParOf" srcId="{C1B6DB34-7F9D-4E3B-A845-68356AC1E046}" destId="{22318949-39D0-42E0-9C57-870548221603}" srcOrd="1" destOrd="0" presId="urn:microsoft.com/office/officeart/2018/2/layout/IconLabelList"/>
    <dgm:cxn modelId="{E55B80A3-166E-4157-AB14-AE38B1C8C708}" type="presParOf" srcId="{C1B6DB34-7F9D-4E3B-A845-68356AC1E046}" destId="{90FCCBBA-5F2E-4408-8EF5-58E94A8F5572}" srcOrd="2" destOrd="0" presId="urn:microsoft.com/office/officeart/2018/2/layout/IconLabelList"/>
    <dgm:cxn modelId="{0D5C015F-1F2F-49B9-A021-E157F0456A74}" type="presParOf" srcId="{671D6AB2-7597-4AF4-A32D-005F891FA299}" destId="{62223BF4-6D3B-4D76-88E8-A00615D8A0E9}" srcOrd="3" destOrd="0" presId="urn:microsoft.com/office/officeart/2018/2/layout/IconLabelList"/>
    <dgm:cxn modelId="{B11D9A78-EC13-487C-ABEA-18D03FC2D71C}" type="presParOf" srcId="{671D6AB2-7597-4AF4-A32D-005F891FA299}" destId="{1F507390-213A-454D-8772-83C09099066A}" srcOrd="4" destOrd="0" presId="urn:microsoft.com/office/officeart/2018/2/layout/IconLabelList"/>
    <dgm:cxn modelId="{07D92F73-7E51-4A6A-AA9E-6CD5007F73B8}" type="presParOf" srcId="{1F507390-213A-454D-8772-83C09099066A}" destId="{23EE67C6-340D-46E8-BDA7-4DDA217D71B1}" srcOrd="0" destOrd="0" presId="urn:microsoft.com/office/officeart/2018/2/layout/IconLabelList"/>
    <dgm:cxn modelId="{479B5B0F-3D65-4C90-8695-733D6FDB0B88}" type="presParOf" srcId="{1F507390-213A-454D-8772-83C09099066A}" destId="{8C0F04BD-BB7E-4D1B-90F0-926900266763}" srcOrd="1" destOrd="0" presId="urn:microsoft.com/office/officeart/2018/2/layout/IconLabelList"/>
    <dgm:cxn modelId="{68299A4D-A86D-4CF4-B3FA-FF0AFD135501}" type="presParOf" srcId="{1F507390-213A-454D-8772-83C09099066A}" destId="{DD3F3485-9A9B-4960-8E61-A2EE023BF5BD}" srcOrd="2" destOrd="0" presId="urn:microsoft.com/office/officeart/2018/2/layout/IconLabelList"/>
    <dgm:cxn modelId="{5BAB7767-9866-407D-93F8-05BA92CC351D}" type="presParOf" srcId="{671D6AB2-7597-4AF4-A32D-005F891FA299}" destId="{CD5E282D-DC9A-489E-932C-B3B4390D5DD7}" srcOrd="5" destOrd="0" presId="urn:microsoft.com/office/officeart/2018/2/layout/IconLabelList"/>
    <dgm:cxn modelId="{A2285B2A-3DDC-4538-BD42-ED856FB1E860}" type="presParOf" srcId="{671D6AB2-7597-4AF4-A32D-005F891FA299}" destId="{D55A7D6E-E690-46EC-B6BC-BE2947A2CCAC}" srcOrd="6" destOrd="0" presId="urn:microsoft.com/office/officeart/2018/2/layout/IconLabelList"/>
    <dgm:cxn modelId="{5D0A82A9-1FD5-4F67-BC69-B1A629D2ED55}" type="presParOf" srcId="{D55A7D6E-E690-46EC-B6BC-BE2947A2CCAC}" destId="{08082D22-F30D-4A63-8D3E-D4809A552C31}" srcOrd="0" destOrd="0" presId="urn:microsoft.com/office/officeart/2018/2/layout/IconLabelList"/>
    <dgm:cxn modelId="{3478E469-9E1C-4218-8D87-2E1FDCA99F87}" type="presParOf" srcId="{D55A7D6E-E690-46EC-B6BC-BE2947A2CCAC}" destId="{86D90D14-979B-4469-9415-2E1868D2DBBE}" srcOrd="1" destOrd="0" presId="urn:microsoft.com/office/officeart/2018/2/layout/IconLabelList"/>
    <dgm:cxn modelId="{36BDC400-96B1-4309-A07A-97BB5F0FFCBF}" type="presParOf" srcId="{D55A7D6E-E690-46EC-B6BC-BE2947A2CCAC}" destId="{1846C395-1A8E-4452-A446-5892CF63AEBA}" srcOrd="2" destOrd="0" presId="urn:microsoft.com/office/officeart/2018/2/layout/IconLabelList"/>
    <dgm:cxn modelId="{3AC539A7-B38E-462F-83B2-4090A98A9F0C}" type="presParOf" srcId="{671D6AB2-7597-4AF4-A32D-005F891FA299}" destId="{AFD2DEE6-5CB5-4C28-A43C-87EA800E1146}" srcOrd="7" destOrd="0" presId="urn:microsoft.com/office/officeart/2018/2/layout/IconLabelList"/>
    <dgm:cxn modelId="{64C4A6F4-BB89-4D49-9A3E-C6F185BFE051}" type="presParOf" srcId="{671D6AB2-7597-4AF4-A32D-005F891FA299}" destId="{B0BF5E64-5249-49C8-BED4-9341927BE72B}" srcOrd="8" destOrd="0" presId="urn:microsoft.com/office/officeart/2018/2/layout/IconLabelList"/>
    <dgm:cxn modelId="{2C877167-FDD9-4890-93E5-0885A7B6B084}" type="presParOf" srcId="{B0BF5E64-5249-49C8-BED4-9341927BE72B}" destId="{10D7C2B5-FFCA-419B-A6A4-D86DE11535EF}" srcOrd="0" destOrd="0" presId="urn:microsoft.com/office/officeart/2018/2/layout/IconLabelList"/>
    <dgm:cxn modelId="{4027742C-D6C4-4082-8BFE-DD42DBDD0945}" type="presParOf" srcId="{B0BF5E64-5249-49C8-BED4-9341927BE72B}" destId="{EB20B1CA-1A95-4A42-ABF6-CCC7C9E20A72}" srcOrd="1" destOrd="0" presId="urn:microsoft.com/office/officeart/2018/2/layout/IconLabelList"/>
    <dgm:cxn modelId="{E6DC12A6-78B1-42DB-BB7D-DC015F982B5B}" type="presParOf" srcId="{B0BF5E64-5249-49C8-BED4-9341927BE72B}" destId="{EAD2F94D-C0CC-4F9C-B599-42A25199AD01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13547F3-A9E8-4430-A461-23B02E7E66A2}" type="doc">
      <dgm:prSet loTypeId="urn:microsoft.com/office/officeart/2018/2/layout/IconLabelList" loCatId="icon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F27CBBDE-E703-4EF2-AFD3-81466865913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>
              <a:solidFill>
                <a:schemeClr val="bg1"/>
              </a:solidFill>
            </a:rPr>
            <a:t>Direct involvement of </a:t>
          </a:r>
          <a:r>
            <a:rPr lang="en-GB" sz="1400" b="1">
              <a:solidFill>
                <a:schemeClr val="bg1"/>
              </a:solidFill>
            </a:rPr>
            <a:t>industrial expertise</a:t>
          </a:r>
          <a:endParaRPr lang="en-US" sz="1400" b="1">
            <a:solidFill>
              <a:schemeClr val="bg1"/>
            </a:solidFill>
          </a:endParaRPr>
        </a:p>
      </dgm:t>
    </dgm:pt>
    <dgm:pt modelId="{80116238-7D02-4CF2-B7BD-DDD3B35CCDDB}" type="parTrans" cxnId="{4C76D309-1FBF-45B1-80F7-10BBF9DA2B4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0C53C5A-2BBC-42AC-8BE9-85BB2A113C0E}" type="sibTrans" cxnId="{4C76D309-1FBF-45B1-80F7-10BBF9DA2B47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F6AA226-3965-45E9-A681-FC4A42C55D6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>
              <a:solidFill>
                <a:schemeClr val="bg1"/>
              </a:solidFill>
            </a:rPr>
            <a:t>Proof of concept </a:t>
          </a:r>
          <a:r>
            <a:rPr lang="en-US" sz="1400" b="0">
              <a:solidFill>
                <a:schemeClr val="bg1"/>
              </a:solidFill>
            </a:rPr>
            <a:t>applied</a:t>
          </a:r>
          <a:r>
            <a:rPr lang="en-US" sz="1400" b="1">
              <a:solidFill>
                <a:schemeClr val="bg1"/>
              </a:solidFill>
            </a:rPr>
            <a:t> </a:t>
          </a:r>
          <a:r>
            <a:rPr lang="en-US" sz="1400" b="0">
              <a:solidFill>
                <a:schemeClr val="bg1"/>
              </a:solidFill>
            </a:rPr>
            <a:t>to</a:t>
          </a:r>
          <a:r>
            <a:rPr lang="en-US" sz="1400">
              <a:solidFill>
                <a:schemeClr val="bg1"/>
              </a:solidFill>
            </a:rPr>
            <a:t> real use cases</a:t>
          </a:r>
        </a:p>
      </dgm:t>
    </dgm:pt>
    <dgm:pt modelId="{5F59C8A4-CF32-4679-ABCD-789D0879CD1F}" type="parTrans" cxnId="{939C92C3-6067-4C7E-AAA0-91644E8E904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3C283242-7034-41BD-90F7-B784509D325D}" type="sibTrans" cxnId="{939C92C3-6067-4C7E-AAA0-91644E8E904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AAB49303-012A-4354-89D0-65ECFF220C8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>
              <a:solidFill>
                <a:schemeClr val="bg1"/>
              </a:solidFill>
            </a:rPr>
            <a:t>Reduced formalism for </a:t>
          </a:r>
          <a:r>
            <a:rPr lang="en-US" sz="1400" b="1">
              <a:solidFill>
                <a:schemeClr val="bg1"/>
              </a:solidFill>
            </a:rPr>
            <a:t>fast outcome</a:t>
          </a:r>
        </a:p>
      </dgm:t>
    </dgm:pt>
    <dgm:pt modelId="{4A5CAA04-E0DF-44FB-8B6B-1D6117DDC058}" type="parTrans" cxnId="{4826EFFD-2B89-4BE7-8397-1E7E6F15A16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505F8EC6-2778-4AED-934A-ED3BF643142A}" type="sibTrans" cxnId="{4826EFFD-2B89-4BE7-8397-1E7E6F15A16B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24DBFFE1-8907-4601-9319-42013B8AD85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>
              <a:solidFill>
                <a:schemeClr val="bg1"/>
              </a:solidFill>
            </a:rPr>
            <a:t>Anticipation of </a:t>
          </a:r>
          <a:r>
            <a:rPr lang="en-US" sz="1400">
              <a:solidFill>
                <a:schemeClr val="bg1"/>
              </a:solidFill>
            </a:rPr>
            <a:t>scientific community needs</a:t>
          </a:r>
        </a:p>
      </dgm:t>
    </dgm:pt>
    <dgm:pt modelId="{40524AF9-4806-4852-9C53-651E7CECDB9E}" type="parTrans" cxnId="{233C20C8-59D6-4FE2-85DD-CD3F4CF635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026E3985-74DC-4532-AE70-AE7AB710E894}" type="sibTrans" cxnId="{233C20C8-59D6-4FE2-85DD-CD3F4CF635BF}">
      <dgm:prSet/>
      <dgm:spPr/>
      <dgm:t>
        <a:bodyPr/>
        <a:lstStyle/>
        <a:p>
          <a:endParaRPr lang="en-US">
            <a:solidFill>
              <a:schemeClr val="bg1"/>
            </a:solidFill>
          </a:endParaRPr>
        </a:p>
      </dgm:t>
    </dgm:pt>
    <dgm:pt modelId="{B58183D3-4B5B-436D-8454-4DC3DBFB4DC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GB" sz="1400" b="0">
              <a:solidFill>
                <a:schemeClr val="bg1"/>
              </a:solidFill>
            </a:rPr>
            <a:t>Address</a:t>
          </a:r>
          <a:r>
            <a:rPr lang="en-GB" sz="1400" b="1">
              <a:solidFill>
                <a:schemeClr val="bg1"/>
              </a:solidFill>
            </a:rPr>
            <a:t> unconsolidated requirements</a:t>
          </a:r>
          <a:endParaRPr lang="en-US" sz="1400">
            <a:solidFill>
              <a:schemeClr val="bg1"/>
            </a:solidFill>
          </a:endParaRPr>
        </a:p>
      </dgm:t>
    </dgm:pt>
    <dgm:pt modelId="{6BC6CABB-DC09-4B60-BE31-1789AB6E73D6}" type="parTrans" cxnId="{7F3FBDD6-9ECD-483F-B61C-CEC67B5B0331}">
      <dgm:prSet/>
      <dgm:spPr/>
      <dgm:t>
        <a:bodyPr/>
        <a:lstStyle/>
        <a:p>
          <a:endParaRPr lang="en-GB">
            <a:solidFill>
              <a:schemeClr val="bg1"/>
            </a:solidFill>
          </a:endParaRPr>
        </a:p>
      </dgm:t>
    </dgm:pt>
    <dgm:pt modelId="{71B02675-5CAE-42DC-9B44-913797A2D587}" type="sibTrans" cxnId="{7F3FBDD6-9ECD-483F-B61C-CEC67B5B0331}">
      <dgm:prSet/>
      <dgm:spPr/>
      <dgm:t>
        <a:bodyPr/>
        <a:lstStyle/>
        <a:p>
          <a:endParaRPr lang="en-GB">
            <a:solidFill>
              <a:schemeClr val="bg1"/>
            </a:solidFill>
          </a:endParaRPr>
        </a:p>
      </dgm:t>
    </dgm:pt>
    <dgm:pt modelId="{4DBAE092-2500-4249-A4FA-9B40CDB98649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en-US" sz="1400" b="1">
              <a:solidFill>
                <a:schemeClr val="bg1"/>
              </a:solidFill>
            </a:rPr>
            <a:t>De-risk </a:t>
          </a:r>
          <a:r>
            <a:rPr lang="en-US" sz="1400" b="0">
              <a:solidFill>
                <a:schemeClr val="bg1"/>
              </a:solidFill>
            </a:rPr>
            <a:t>uncertain solutions</a:t>
          </a:r>
        </a:p>
      </dgm:t>
    </dgm:pt>
    <dgm:pt modelId="{BE52B8C2-4FB0-4126-B762-0484D9D38CB4}" type="parTrans" cxnId="{7E30CDFF-D1E4-4D19-BAB9-3AFBF02FCA74}">
      <dgm:prSet/>
      <dgm:spPr/>
      <dgm:t>
        <a:bodyPr/>
        <a:lstStyle/>
        <a:p>
          <a:endParaRPr lang="en-GB">
            <a:solidFill>
              <a:schemeClr val="bg1"/>
            </a:solidFill>
          </a:endParaRPr>
        </a:p>
      </dgm:t>
    </dgm:pt>
    <dgm:pt modelId="{778931EB-5C48-4ACF-91E1-9235B18E62D4}" type="sibTrans" cxnId="{7E30CDFF-D1E4-4D19-BAB9-3AFBF02FCA74}">
      <dgm:prSet/>
      <dgm:spPr/>
      <dgm:t>
        <a:bodyPr/>
        <a:lstStyle/>
        <a:p>
          <a:endParaRPr lang="en-GB">
            <a:solidFill>
              <a:schemeClr val="bg1"/>
            </a:solidFill>
          </a:endParaRPr>
        </a:p>
      </dgm:t>
    </dgm:pt>
    <dgm:pt modelId="{671D6AB2-7597-4AF4-A32D-005F891FA299}" type="pres">
      <dgm:prSet presAssocID="{013547F3-A9E8-4430-A461-23B02E7E66A2}" presName="root" presStyleCnt="0">
        <dgm:presLayoutVars>
          <dgm:dir/>
          <dgm:resizeHandles val="exact"/>
        </dgm:presLayoutVars>
      </dgm:prSet>
      <dgm:spPr/>
    </dgm:pt>
    <dgm:pt modelId="{4A0BCDA9-14C1-4181-BCF9-C2175BBBD567}" type="pres">
      <dgm:prSet presAssocID="{F27CBBDE-E703-4EF2-AFD3-814668659131}" presName="compNode" presStyleCnt="0"/>
      <dgm:spPr/>
    </dgm:pt>
    <dgm:pt modelId="{7ADB8232-585E-4916-AB18-5CDE7BD5163D}" type="pres">
      <dgm:prSet presAssocID="{F27CBBDE-E703-4EF2-AFD3-814668659131}" presName="iconRect" presStyleLbl="node1" presStyleIdx="0" presStyleCnt="6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cument"/>
        </a:ext>
      </dgm:extLst>
    </dgm:pt>
    <dgm:pt modelId="{D72FFD94-F577-47D0-9D86-F2CCB230BEAD}" type="pres">
      <dgm:prSet presAssocID="{F27CBBDE-E703-4EF2-AFD3-814668659131}" presName="spaceRect" presStyleCnt="0"/>
      <dgm:spPr/>
    </dgm:pt>
    <dgm:pt modelId="{92F2CC25-799F-4018-ADB1-6569988E44CD}" type="pres">
      <dgm:prSet presAssocID="{F27CBBDE-E703-4EF2-AFD3-814668659131}" presName="textRect" presStyleLbl="revTx" presStyleIdx="0" presStyleCnt="6">
        <dgm:presLayoutVars>
          <dgm:chMax val="1"/>
          <dgm:chPref val="1"/>
        </dgm:presLayoutVars>
      </dgm:prSet>
      <dgm:spPr/>
    </dgm:pt>
    <dgm:pt modelId="{2944D205-5A58-4769-8826-E99A84BDDFDA}" type="pres">
      <dgm:prSet presAssocID="{00C53C5A-2BBC-42AC-8BE9-85BB2A113C0E}" presName="sibTrans" presStyleCnt="0"/>
      <dgm:spPr/>
    </dgm:pt>
    <dgm:pt modelId="{ABAF6B55-B51E-40E2-83F0-777BC25E47D9}" type="pres">
      <dgm:prSet presAssocID="{4DBAE092-2500-4249-A4FA-9B40CDB98649}" presName="compNode" presStyleCnt="0"/>
      <dgm:spPr/>
    </dgm:pt>
    <dgm:pt modelId="{4CA90EED-1BCA-4074-9ED9-25C190BA3F25}" type="pres">
      <dgm:prSet presAssocID="{4DBAE092-2500-4249-A4FA-9B40CDB98649}" presName="iconRect" presStyleLbl="node1" presStyleIdx="1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ork In Road with solid fill"/>
        </a:ext>
      </dgm:extLst>
    </dgm:pt>
    <dgm:pt modelId="{E49BC54F-2C14-4669-91DE-8D1C4F5E0C3C}" type="pres">
      <dgm:prSet presAssocID="{4DBAE092-2500-4249-A4FA-9B40CDB98649}" presName="spaceRect" presStyleCnt="0"/>
      <dgm:spPr/>
    </dgm:pt>
    <dgm:pt modelId="{FA4BE080-B97E-40DE-93CB-66EBE9D6CA00}" type="pres">
      <dgm:prSet presAssocID="{4DBAE092-2500-4249-A4FA-9B40CDB98649}" presName="textRect" presStyleLbl="revTx" presStyleIdx="1" presStyleCnt="6">
        <dgm:presLayoutVars>
          <dgm:chMax val="1"/>
          <dgm:chPref val="1"/>
        </dgm:presLayoutVars>
      </dgm:prSet>
      <dgm:spPr/>
    </dgm:pt>
    <dgm:pt modelId="{3EA97505-9375-47E8-AC20-F1DCAAF7A539}" type="pres">
      <dgm:prSet presAssocID="{778931EB-5C48-4ACF-91E1-9235B18E62D4}" presName="sibTrans" presStyleCnt="0"/>
      <dgm:spPr/>
    </dgm:pt>
    <dgm:pt modelId="{E1A56ED0-F382-41B8-A40A-BA15B505AA9F}" type="pres">
      <dgm:prSet presAssocID="{B58183D3-4B5B-436D-8454-4DC3DBFB4DCA}" presName="compNode" presStyleCnt="0"/>
      <dgm:spPr/>
    </dgm:pt>
    <dgm:pt modelId="{58D5C81F-59BD-407F-80CF-52E124A8E0DC}" type="pres">
      <dgm:prSet presAssocID="{B58183D3-4B5B-436D-8454-4DC3DBFB4DCA}" presName="iconRect" presStyleLbl="node1" presStyleIdx="2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pinning Plates with solid fill"/>
        </a:ext>
      </dgm:extLst>
    </dgm:pt>
    <dgm:pt modelId="{7DC0F10C-05C7-48A9-9441-459B47F9A304}" type="pres">
      <dgm:prSet presAssocID="{B58183D3-4B5B-436D-8454-4DC3DBFB4DCA}" presName="spaceRect" presStyleCnt="0"/>
      <dgm:spPr/>
    </dgm:pt>
    <dgm:pt modelId="{2FDD4960-5A59-4E4B-9293-A0451C4AF404}" type="pres">
      <dgm:prSet presAssocID="{B58183D3-4B5B-436D-8454-4DC3DBFB4DCA}" presName="textRect" presStyleLbl="revTx" presStyleIdx="2" presStyleCnt="6">
        <dgm:presLayoutVars>
          <dgm:chMax val="1"/>
          <dgm:chPref val="1"/>
        </dgm:presLayoutVars>
      </dgm:prSet>
      <dgm:spPr/>
    </dgm:pt>
    <dgm:pt modelId="{1705FD7B-6987-4276-9D68-5546FA7363A9}" type="pres">
      <dgm:prSet presAssocID="{71B02675-5CAE-42DC-9B44-913797A2D587}" presName="sibTrans" presStyleCnt="0"/>
      <dgm:spPr/>
    </dgm:pt>
    <dgm:pt modelId="{C1B6DB34-7F9D-4E3B-A845-68356AC1E046}" type="pres">
      <dgm:prSet presAssocID="{2F6AA226-3965-45E9-A681-FC4A42C55D61}" presName="compNode" presStyleCnt="0"/>
      <dgm:spPr/>
    </dgm:pt>
    <dgm:pt modelId="{34DCF65F-FCA1-4B61-AAF5-F0DA31DB4E3F}" type="pres">
      <dgm:prSet presAssocID="{2F6AA226-3965-45E9-A681-FC4A42C55D61}" presName="iconRect" presStyleLbl="node1" presStyleIdx="3" presStyleCnt="6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rchitecture with solid fill"/>
        </a:ext>
      </dgm:extLst>
    </dgm:pt>
    <dgm:pt modelId="{22318949-39D0-42E0-9C57-870548221603}" type="pres">
      <dgm:prSet presAssocID="{2F6AA226-3965-45E9-A681-FC4A42C55D61}" presName="spaceRect" presStyleCnt="0"/>
      <dgm:spPr/>
    </dgm:pt>
    <dgm:pt modelId="{90FCCBBA-5F2E-4408-8EF5-58E94A8F5572}" type="pres">
      <dgm:prSet presAssocID="{2F6AA226-3965-45E9-A681-FC4A42C55D61}" presName="textRect" presStyleLbl="revTx" presStyleIdx="3" presStyleCnt="6">
        <dgm:presLayoutVars>
          <dgm:chMax val="1"/>
          <dgm:chPref val="1"/>
        </dgm:presLayoutVars>
      </dgm:prSet>
      <dgm:spPr/>
    </dgm:pt>
    <dgm:pt modelId="{62223BF4-6D3B-4D76-88E8-A00615D8A0E9}" type="pres">
      <dgm:prSet presAssocID="{3C283242-7034-41BD-90F7-B784509D325D}" presName="sibTrans" presStyleCnt="0"/>
      <dgm:spPr/>
    </dgm:pt>
    <dgm:pt modelId="{1F507390-213A-454D-8772-83C09099066A}" type="pres">
      <dgm:prSet presAssocID="{AAB49303-012A-4354-89D0-65ECFF220C83}" presName="compNode" presStyleCnt="0"/>
      <dgm:spPr/>
    </dgm:pt>
    <dgm:pt modelId="{23EE67C6-340D-46E8-BDA7-4DDA217D71B1}" type="pres">
      <dgm:prSet presAssocID="{AAB49303-012A-4354-89D0-65ECFF220C83}" presName="iconRect" presStyleLbl="node1" presStyleIdx="4" presStyleCnt="6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Race Car with solid fill"/>
        </a:ext>
      </dgm:extLst>
    </dgm:pt>
    <dgm:pt modelId="{8C0F04BD-BB7E-4D1B-90F0-926900266763}" type="pres">
      <dgm:prSet presAssocID="{AAB49303-012A-4354-89D0-65ECFF220C83}" presName="spaceRect" presStyleCnt="0"/>
      <dgm:spPr/>
    </dgm:pt>
    <dgm:pt modelId="{DD3F3485-9A9B-4960-8E61-A2EE023BF5BD}" type="pres">
      <dgm:prSet presAssocID="{AAB49303-012A-4354-89D0-65ECFF220C83}" presName="textRect" presStyleLbl="revTx" presStyleIdx="4" presStyleCnt="6">
        <dgm:presLayoutVars>
          <dgm:chMax val="1"/>
          <dgm:chPref val="1"/>
        </dgm:presLayoutVars>
      </dgm:prSet>
      <dgm:spPr/>
    </dgm:pt>
    <dgm:pt modelId="{CD5E282D-DC9A-489E-932C-B3B4390D5DD7}" type="pres">
      <dgm:prSet presAssocID="{505F8EC6-2778-4AED-934A-ED3BF643142A}" presName="sibTrans" presStyleCnt="0"/>
      <dgm:spPr/>
    </dgm:pt>
    <dgm:pt modelId="{D55A7D6E-E690-46EC-B6BC-BE2947A2CCAC}" type="pres">
      <dgm:prSet presAssocID="{24DBFFE1-8907-4601-9319-42013B8AD858}" presName="compNode" presStyleCnt="0"/>
      <dgm:spPr/>
    </dgm:pt>
    <dgm:pt modelId="{08082D22-F30D-4A63-8D3E-D4809A552C31}" type="pres">
      <dgm:prSet presAssocID="{24DBFFE1-8907-4601-9319-42013B8AD858}" presName="iconRect" presStyleLbl="node1" presStyleIdx="5" presStyleCnt="6"/>
      <dgm:spPr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Flask with solid fill"/>
        </a:ext>
      </dgm:extLst>
    </dgm:pt>
    <dgm:pt modelId="{86D90D14-979B-4469-9415-2E1868D2DBBE}" type="pres">
      <dgm:prSet presAssocID="{24DBFFE1-8907-4601-9319-42013B8AD858}" presName="spaceRect" presStyleCnt="0"/>
      <dgm:spPr/>
    </dgm:pt>
    <dgm:pt modelId="{1846C395-1A8E-4452-A446-5892CF63AEBA}" type="pres">
      <dgm:prSet presAssocID="{24DBFFE1-8907-4601-9319-42013B8AD858}" presName="textRect" presStyleLbl="revTx" presStyleIdx="5" presStyleCnt="6">
        <dgm:presLayoutVars>
          <dgm:chMax val="1"/>
          <dgm:chPref val="1"/>
        </dgm:presLayoutVars>
      </dgm:prSet>
      <dgm:spPr/>
    </dgm:pt>
  </dgm:ptLst>
  <dgm:cxnLst>
    <dgm:cxn modelId="{4C76D309-1FBF-45B1-80F7-10BBF9DA2B47}" srcId="{013547F3-A9E8-4430-A461-23B02E7E66A2}" destId="{F27CBBDE-E703-4EF2-AFD3-814668659131}" srcOrd="0" destOrd="0" parTransId="{80116238-7D02-4CF2-B7BD-DDD3B35CCDDB}" sibTransId="{00C53C5A-2BBC-42AC-8BE9-85BB2A113C0E}"/>
    <dgm:cxn modelId="{F0B74C24-2ECB-4D22-91A9-F436E5B2D0B3}" type="presOf" srcId="{B58183D3-4B5B-436D-8454-4DC3DBFB4DCA}" destId="{2FDD4960-5A59-4E4B-9293-A0451C4AF404}" srcOrd="0" destOrd="0" presId="urn:microsoft.com/office/officeart/2018/2/layout/IconLabelList"/>
    <dgm:cxn modelId="{772A2B3E-E629-49BB-BF57-B4BF460F6CFE}" type="presOf" srcId="{AAB49303-012A-4354-89D0-65ECFF220C83}" destId="{DD3F3485-9A9B-4960-8E61-A2EE023BF5BD}" srcOrd="0" destOrd="0" presId="urn:microsoft.com/office/officeart/2018/2/layout/IconLabelList"/>
    <dgm:cxn modelId="{755D6062-31D7-4C2A-9485-4EFC00000CDC}" type="presOf" srcId="{2F6AA226-3965-45E9-A681-FC4A42C55D61}" destId="{90FCCBBA-5F2E-4408-8EF5-58E94A8F5572}" srcOrd="0" destOrd="0" presId="urn:microsoft.com/office/officeart/2018/2/layout/IconLabelList"/>
    <dgm:cxn modelId="{E75DDF71-64F9-4EA7-BA87-75F3714947F2}" type="presOf" srcId="{013547F3-A9E8-4430-A461-23B02E7E66A2}" destId="{671D6AB2-7597-4AF4-A32D-005F891FA299}" srcOrd="0" destOrd="0" presId="urn:microsoft.com/office/officeart/2018/2/layout/IconLabelList"/>
    <dgm:cxn modelId="{D92E4355-C594-4C48-979B-AC725FF5228A}" type="presOf" srcId="{4DBAE092-2500-4249-A4FA-9B40CDB98649}" destId="{FA4BE080-B97E-40DE-93CB-66EBE9D6CA00}" srcOrd="0" destOrd="0" presId="urn:microsoft.com/office/officeart/2018/2/layout/IconLabelList"/>
    <dgm:cxn modelId="{36A1C45A-BB52-41F1-BDCF-D722D9DAFFA7}" type="presOf" srcId="{24DBFFE1-8907-4601-9319-42013B8AD858}" destId="{1846C395-1A8E-4452-A446-5892CF63AEBA}" srcOrd="0" destOrd="0" presId="urn:microsoft.com/office/officeart/2018/2/layout/IconLabelList"/>
    <dgm:cxn modelId="{380E72B3-45F9-451B-9F60-9476FF97DA14}" type="presOf" srcId="{F27CBBDE-E703-4EF2-AFD3-814668659131}" destId="{92F2CC25-799F-4018-ADB1-6569988E44CD}" srcOrd="0" destOrd="0" presId="urn:microsoft.com/office/officeart/2018/2/layout/IconLabelList"/>
    <dgm:cxn modelId="{939C92C3-6067-4C7E-AAA0-91644E8E904B}" srcId="{013547F3-A9E8-4430-A461-23B02E7E66A2}" destId="{2F6AA226-3965-45E9-A681-FC4A42C55D61}" srcOrd="3" destOrd="0" parTransId="{5F59C8A4-CF32-4679-ABCD-789D0879CD1F}" sibTransId="{3C283242-7034-41BD-90F7-B784509D325D}"/>
    <dgm:cxn modelId="{233C20C8-59D6-4FE2-85DD-CD3F4CF635BF}" srcId="{013547F3-A9E8-4430-A461-23B02E7E66A2}" destId="{24DBFFE1-8907-4601-9319-42013B8AD858}" srcOrd="5" destOrd="0" parTransId="{40524AF9-4806-4852-9C53-651E7CECDB9E}" sibTransId="{026E3985-74DC-4532-AE70-AE7AB710E894}"/>
    <dgm:cxn modelId="{7F3FBDD6-9ECD-483F-B61C-CEC67B5B0331}" srcId="{013547F3-A9E8-4430-A461-23B02E7E66A2}" destId="{B58183D3-4B5B-436D-8454-4DC3DBFB4DCA}" srcOrd="2" destOrd="0" parTransId="{6BC6CABB-DC09-4B60-BE31-1789AB6E73D6}" sibTransId="{71B02675-5CAE-42DC-9B44-913797A2D587}"/>
    <dgm:cxn modelId="{4826EFFD-2B89-4BE7-8397-1E7E6F15A16B}" srcId="{013547F3-A9E8-4430-A461-23B02E7E66A2}" destId="{AAB49303-012A-4354-89D0-65ECFF220C83}" srcOrd="4" destOrd="0" parTransId="{4A5CAA04-E0DF-44FB-8B6B-1D6117DDC058}" sibTransId="{505F8EC6-2778-4AED-934A-ED3BF643142A}"/>
    <dgm:cxn modelId="{7E30CDFF-D1E4-4D19-BAB9-3AFBF02FCA74}" srcId="{013547F3-A9E8-4430-A461-23B02E7E66A2}" destId="{4DBAE092-2500-4249-A4FA-9B40CDB98649}" srcOrd="1" destOrd="0" parTransId="{BE52B8C2-4FB0-4126-B762-0484D9D38CB4}" sibTransId="{778931EB-5C48-4ACF-91E1-9235B18E62D4}"/>
    <dgm:cxn modelId="{E2870253-8D18-403B-B932-08ACC8626946}" type="presParOf" srcId="{671D6AB2-7597-4AF4-A32D-005F891FA299}" destId="{4A0BCDA9-14C1-4181-BCF9-C2175BBBD567}" srcOrd="0" destOrd="0" presId="urn:microsoft.com/office/officeart/2018/2/layout/IconLabelList"/>
    <dgm:cxn modelId="{2397B168-6CFE-4A5C-9A42-AC1EF846D6BE}" type="presParOf" srcId="{4A0BCDA9-14C1-4181-BCF9-C2175BBBD567}" destId="{7ADB8232-585E-4916-AB18-5CDE7BD5163D}" srcOrd="0" destOrd="0" presId="urn:microsoft.com/office/officeart/2018/2/layout/IconLabelList"/>
    <dgm:cxn modelId="{D3A5E214-4D38-4ADE-8AA1-577A6321D154}" type="presParOf" srcId="{4A0BCDA9-14C1-4181-BCF9-C2175BBBD567}" destId="{D72FFD94-F577-47D0-9D86-F2CCB230BEAD}" srcOrd="1" destOrd="0" presId="urn:microsoft.com/office/officeart/2018/2/layout/IconLabelList"/>
    <dgm:cxn modelId="{FF9DC42E-8AB5-47AB-943F-343F39F69B1C}" type="presParOf" srcId="{4A0BCDA9-14C1-4181-BCF9-C2175BBBD567}" destId="{92F2CC25-799F-4018-ADB1-6569988E44CD}" srcOrd="2" destOrd="0" presId="urn:microsoft.com/office/officeart/2018/2/layout/IconLabelList"/>
    <dgm:cxn modelId="{AD382C7C-8966-4480-8A29-B67FA34F312C}" type="presParOf" srcId="{671D6AB2-7597-4AF4-A32D-005F891FA299}" destId="{2944D205-5A58-4769-8826-E99A84BDDFDA}" srcOrd="1" destOrd="0" presId="urn:microsoft.com/office/officeart/2018/2/layout/IconLabelList"/>
    <dgm:cxn modelId="{AAFB9EF4-D932-45FE-96DF-A7E10945DA70}" type="presParOf" srcId="{671D6AB2-7597-4AF4-A32D-005F891FA299}" destId="{ABAF6B55-B51E-40E2-83F0-777BC25E47D9}" srcOrd="2" destOrd="0" presId="urn:microsoft.com/office/officeart/2018/2/layout/IconLabelList"/>
    <dgm:cxn modelId="{AB4E622E-65FA-42E2-BECE-852AAE98F50F}" type="presParOf" srcId="{ABAF6B55-B51E-40E2-83F0-777BC25E47D9}" destId="{4CA90EED-1BCA-4074-9ED9-25C190BA3F25}" srcOrd="0" destOrd="0" presId="urn:microsoft.com/office/officeart/2018/2/layout/IconLabelList"/>
    <dgm:cxn modelId="{6B0D0C7C-9C40-477A-BBAC-E518722027E3}" type="presParOf" srcId="{ABAF6B55-B51E-40E2-83F0-777BC25E47D9}" destId="{E49BC54F-2C14-4669-91DE-8D1C4F5E0C3C}" srcOrd="1" destOrd="0" presId="urn:microsoft.com/office/officeart/2018/2/layout/IconLabelList"/>
    <dgm:cxn modelId="{A5114A8E-65AA-41AF-94A4-9612EE99D80A}" type="presParOf" srcId="{ABAF6B55-B51E-40E2-83F0-777BC25E47D9}" destId="{FA4BE080-B97E-40DE-93CB-66EBE9D6CA00}" srcOrd="2" destOrd="0" presId="urn:microsoft.com/office/officeart/2018/2/layout/IconLabelList"/>
    <dgm:cxn modelId="{94A4B917-5544-40CA-A6F5-BD6430E1D08B}" type="presParOf" srcId="{671D6AB2-7597-4AF4-A32D-005F891FA299}" destId="{3EA97505-9375-47E8-AC20-F1DCAAF7A539}" srcOrd="3" destOrd="0" presId="urn:microsoft.com/office/officeart/2018/2/layout/IconLabelList"/>
    <dgm:cxn modelId="{A0EF6DA0-7EE3-4608-9098-93C36367F7E4}" type="presParOf" srcId="{671D6AB2-7597-4AF4-A32D-005F891FA299}" destId="{E1A56ED0-F382-41B8-A40A-BA15B505AA9F}" srcOrd="4" destOrd="0" presId="urn:microsoft.com/office/officeart/2018/2/layout/IconLabelList"/>
    <dgm:cxn modelId="{C5C1D9CE-436B-4981-858B-E78E0BBE7E91}" type="presParOf" srcId="{E1A56ED0-F382-41B8-A40A-BA15B505AA9F}" destId="{58D5C81F-59BD-407F-80CF-52E124A8E0DC}" srcOrd="0" destOrd="0" presId="urn:microsoft.com/office/officeart/2018/2/layout/IconLabelList"/>
    <dgm:cxn modelId="{872A9935-5F23-4761-A97C-52B6A8EF9837}" type="presParOf" srcId="{E1A56ED0-F382-41B8-A40A-BA15B505AA9F}" destId="{7DC0F10C-05C7-48A9-9441-459B47F9A304}" srcOrd="1" destOrd="0" presId="urn:microsoft.com/office/officeart/2018/2/layout/IconLabelList"/>
    <dgm:cxn modelId="{31103FED-9013-429A-90FE-7287B06E09F6}" type="presParOf" srcId="{E1A56ED0-F382-41B8-A40A-BA15B505AA9F}" destId="{2FDD4960-5A59-4E4B-9293-A0451C4AF404}" srcOrd="2" destOrd="0" presId="urn:microsoft.com/office/officeart/2018/2/layout/IconLabelList"/>
    <dgm:cxn modelId="{EC97330C-DCA4-4619-940A-7485E411F79F}" type="presParOf" srcId="{671D6AB2-7597-4AF4-A32D-005F891FA299}" destId="{1705FD7B-6987-4276-9D68-5546FA7363A9}" srcOrd="5" destOrd="0" presId="urn:microsoft.com/office/officeart/2018/2/layout/IconLabelList"/>
    <dgm:cxn modelId="{D3A29ABF-EB0E-43D9-B528-6348CB3F7792}" type="presParOf" srcId="{671D6AB2-7597-4AF4-A32D-005F891FA299}" destId="{C1B6DB34-7F9D-4E3B-A845-68356AC1E046}" srcOrd="6" destOrd="0" presId="urn:microsoft.com/office/officeart/2018/2/layout/IconLabelList"/>
    <dgm:cxn modelId="{6551D063-4037-48FD-B3FF-B2D7BA2FC30C}" type="presParOf" srcId="{C1B6DB34-7F9D-4E3B-A845-68356AC1E046}" destId="{34DCF65F-FCA1-4B61-AAF5-F0DA31DB4E3F}" srcOrd="0" destOrd="0" presId="urn:microsoft.com/office/officeart/2018/2/layout/IconLabelList"/>
    <dgm:cxn modelId="{A966C2EF-EC4B-4FC4-A8C5-24A8249FFF7E}" type="presParOf" srcId="{C1B6DB34-7F9D-4E3B-A845-68356AC1E046}" destId="{22318949-39D0-42E0-9C57-870548221603}" srcOrd="1" destOrd="0" presId="urn:microsoft.com/office/officeart/2018/2/layout/IconLabelList"/>
    <dgm:cxn modelId="{E55B80A3-166E-4157-AB14-AE38B1C8C708}" type="presParOf" srcId="{C1B6DB34-7F9D-4E3B-A845-68356AC1E046}" destId="{90FCCBBA-5F2E-4408-8EF5-58E94A8F5572}" srcOrd="2" destOrd="0" presId="urn:microsoft.com/office/officeart/2018/2/layout/IconLabelList"/>
    <dgm:cxn modelId="{0D5C015F-1F2F-49B9-A021-E157F0456A74}" type="presParOf" srcId="{671D6AB2-7597-4AF4-A32D-005F891FA299}" destId="{62223BF4-6D3B-4D76-88E8-A00615D8A0E9}" srcOrd="7" destOrd="0" presId="urn:microsoft.com/office/officeart/2018/2/layout/IconLabelList"/>
    <dgm:cxn modelId="{B11D9A78-EC13-487C-ABEA-18D03FC2D71C}" type="presParOf" srcId="{671D6AB2-7597-4AF4-A32D-005F891FA299}" destId="{1F507390-213A-454D-8772-83C09099066A}" srcOrd="8" destOrd="0" presId="urn:microsoft.com/office/officeart/2018/2/layout/IconLabelList"/>
    <dgm:cxn modelId="{07D92F73-7E51-4A6A-AA9E-6CD5007F73B8}" type="presParOf" srcId="{1F507390-213A-454D-8772-83C09099066A}" destId="{23EE67C6-340D-46E8-BDA7-4DDA217D71B1}" srcOrd="0" destOrd="0" presId="urn:microsoft.com/office/officeart/2018/2/layout/IconLabelList"/>
    <dgm:cxn modelId="{479B5B0F-3D65-4C90-8695-733D6FDB0B88}" type="presParOf" srcId="{1F507390-213A-454D-8772-83C09099066A}" destId="{8C0F04BD-BB7E-4D1B-90F0-926900266763}" srcOrd="1" destOrd="0" presId="urn:microsoft.com/office/officeart/2018/2/layout/IconLabelList"/>
    <dgm:cxn modelId="{68299A4D-A86D-4CF4-B3FA-FF0AFD135501}" type="presParOf" srcId="{1F507390-213A-454D-8772-83C09099066A}" destId="{DD3F3485-9A9B-4960-8E61-A2EE023BF5BD}" srcOrd="2" destOrd="0" presId="urn:microsoft.com/office/officeart/2018/2/layout/IconLabelList"/>
    <dgm:cxn modelId="{5BAB7767-9866-407D-93F8-05BA92CC351D}" type="presParOf" srcId="{671D6AB2-7597-4AF4-A32D-005F891FA299}" destId="{CD5E282D-DC9A-489E-932C-B3B4390D5DD7}" srcOrd="9" destOrd="0" presId="urn:microsoft.com/office/officeart/2018/2/layout/IconLabelList"/>
    <dgm:cxn modelId="{A2285B2A-3DDC-4538-BD42-ED856FB1E860}" type="presParOf" srcId="{671D6AB2-7597-4AF4-A32D-005F891FA299}" destId="{D55A7D6E-E690-46EC-B6BC-BE2947A2CCAC}" srcOrd="10" destOrd="0" presId="urn:microsoft.com/office/officeart/2018/2/layout/IconLabelList"/>
    <dgm:cxn modelId="{5D0A82A9-1FD5-4F67-BC69-B1A629D2ED55}" type="presParOf" srcId="{D55A7D6E-E690-46EC-B6BC-BE2947A2CCAC}" destId="{08082D22-F30D-4A63-8D3E-D4809A552C31}" srcOrd="0" destOrd="0" presId="urn:microsoft.com/office/officeart/2018/2/layout/IconLabelList"/>
    <dgm:cxn modelId="{3478E469-9E1C-4218-8D87-2E1FDCA99F87}" type="presParOf" srcId="{D55A7D6E-E690-46EC-B6BC-BE2947A2CCAC}" destId="{86D90D14-979B-4469-9415-2E1868D2DBBE}" srcOrd="1" destOrd="0" presId="urn:microsoft.com/office/officeart/2018/2/layout/IconLabelList"/>
    <dgm:cxn modelId="{36BDC400-96B1-4309-A07A-97BB5F0FFCBF}" type="presParOf" srcId="{D55A7D6E-E690-46EC-B6BC-BE2947A2CCAC}" destId="{1846C395-1A8E-4452-A446-5892CF63AEBA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CD55AB3-9711-47F1-9E6D-196C37BB5175}" type="doc">
      <dgm:prSet loTypeId="urn:microsoft.com/office/officeart/2016/7/layout/ChevronBlockProcess" loCatId="process" qsTypeId="urn:microsoft.com/office/officeart/2005/8/quickstyle/simple5" qsCatId="simple" csTypeId="urn:microsoft.com/office/officeart/2005/8/colors/accent3_2" csCatId="accent3" phldr="1"/>
      <dgm:spPr/>
      <dgm:t>
        <a:bodyPr/>
        <a:lstStyle/>
        <a:p>
          <a:endParaRPr lang="en-US"/>
        </a:p>
      </dgm:t>
    </dgm:pt>
    <dgm:pt modelId="{8950D927-5E9B-4D0B-B319-7AD53BA8D68C}">
      <dgm:prSet/>
      <dgm:spPr/>
      <dgm:t>
        <a:bodyPr/>
        <a:lstStyle/>
        <a:p>
          <a:r>
            <a:rPr lang="en-GB"/>
            <a:t>Element 1</a:t>
          </a:r>
          <a:endParaRPr lang="en-US"/>
        </a:p>
      </dgm:t>
    </dgm:pt>
    <dgm:pt modelId="{546CA81D-D948-4555-BA2D-DC539AAB90A2}" type="parTrans" cxnId="{97B3FAA7-4C4D-4B33-B575-88BE520C8563}">
      <dgm:prSet/>
      <dgm:spPr/>
      <dgm:t>
        <a:bodyPr/>
        <a:lstStyle/>
        <a:p>
          <a:endParaRPr lang="en-US"/>
        </a:p>
      </dgm:t>
    </dgm:pt>
    <dgm:pt modelId="{B4F8D002-4A06-4183-9387-AFD13CBDEA80}" type="sibTrans" cxnId="{97B3FAA7-4C4D-4B33-B575-88BE520C8563}">
      <dgm:prSet/>
      <dgm:spPr/>
      <dgm:t>
        <a:bodyPr/>
        <a:lstStyle/>
        <a:p>
          <a:endParaRPr lang="en-US"/>
        </a:p>
      </dgm:t>
    </dgm:pt>
    <dgm:pt modelId="{902C2252-7885-4A26-9D55-A34823D6BE9F}">
      <dgm:prSet/>
      <dgm:spPr/>
      <dgm:t>
        <a:bodyPr/>
        <a:lstStyle/>
        <a:p>
          <a:r>
            <a:rPr lang="en-GB"/>
            <a:t>Element 3</a:t>
          </a:r>
          <a:endParaRPr lang="en-US"/>
        </a:p>
      </dgm:t>
    </dgm:pt>
    <dgm:pt modelId="{771D89C1-AFA5-4B98-8818-A55C044FDF8A}" type="parTrans" cxnId="{961DB3DD-531A-443F-BC07-9BEB1967B824}">
      <dgm:prSet/>
      <dgm:spPr/>
      <dgm:t>
        <a:bodyPr/>
        <a:lstStyle/>
        <a:p>
          <a:endParaRPr lang="en-US"/>
        </a:p>
      </dgm:t>
    </dgm:pt>
    <dgm:pt modelId="{5A783DAB-B29D-4AA8-88B3-F7E5A79554C6}" type="sibTrans" cxnId="{961DB3DD-531A-443F-BC07-9BEB1967B824}">
      <dgm:prSet/>
      <dgm:spPr/>
      <dgm:t>
        <a:bodyPr/>
        <a:lstStyle/>
        <a:p>
          <a:endParaRPr lang="en-US"/>
        </a:p>
      </dgm:t>
    </dgm:pt>
    <dgm:pt modelId="{E7FA56E1-AB6F-427C-BD40-69C6CE78E880}">
      <dgm:prSet custT="1"/>
      <dgm:spPr/>
      <dgm:t>
        <a:bodyPr/>
        <a:lstStyle/>
        <a:p>
          <a:r>
            <a:rPr lang="en-GB" sz="1600"/>
            <a:t>Data transfer</a:t>
          </a:r>
          <a:endParaRPr lang="en-US" sz="1600"/>
        </a:p>
      </dgm:t>
    </dgm:pt>
    <dgm:pt modelId="{9DC8547B-3DDF-49CB-8764-80ECCDCF1DFD}" type="parTrans" cxnId="{EC10AD17-2025-4B92-A655-2FE79CD5A95D}">
      <dgm:prSet/>
      <dgm:spPr/>
      <dgm:t>
        <a:bodyPr/>
        <a:lstStyle/>
        <a:p>
          <a:endParaRPr lang="en-US"/>
        </a:p>
      </dgm:t>
    </dgm:pt>
    <dgm:pt modelId="{72FCB606-961F-4AAB-9B92-4C9832376146}" type="sibTrans" cxnId="{EC10AD17-2025-4B92-A655-2FE79CD5A95D}">
      <dgm:prSet/>
      <dgm:spPr/>
      <dgm:t>
        <a:bodyPr/>
        <a:lstStyle/>
        <a:p>
          <a:endParaRPr lang="en-US"/>
        </a:p>
      </dgm:t>
    </dgm:pt>
    <dgm:pt modelId="{0D810391-3B3F-493A-B1A3-6153FB4FF5B5}">
      <dgm:prSet/>
      <dgm:spPr/>
      <dgm:t>
        <a:bodyPr/>
        <a:lstStyle/>
        <a:p>
          <a:r>
            <a:rPr lang="en-GB"/>
            <a:t>Element 4</a:t>
          </a:r>
          <a:endParaRPr lang="en-US"/>
        </a:p>
      </dgm:t>
    </dgm:pt>
    <dgm:pt modelId="{B9D2DD1A-1F7A-4DA5-9C2C-181F5FECAD20}" type="parTrans" cxnId="{6A475FFA-97A9-4278-9A4F-39CA9CB165E4}">
      <dgm:prSet/>
      <dgm:spPr/>
      <dgm:t>
        <a:bodyPr/>
        <a:lstStyle/>
        <a:p>
          <a:endParaRPr lang="en-US"/>
        </a:p>
      </dgm:t>
    </dgm:pt>
    <dgm:pt modelId="{7BE1F944-FCB6-4685-98F1-AE218E3756EC}" type="sibTrans" cxnId="{6A475FFA-97A9-4278-9A4F-39CA9CB165E4}">
      <dgm:prSet/>
      <dgm:spPr/>
      <dgm:t>
        <a:bodyPr/>
        <a:lstStyle/>
        <a:p>
          <a:endParaRPr lang="en-US"/>
        </a:p>
      </dgm:t>
    </dgm:pt>
    <dgm:pt modelId="{2C5379E6-0975-43CC-890E-D7B545DD7FE9}">
      <dgm:prSet/>
      <dgm:spPr/>
      <dgm:t>
        <a:bodyPr/>
        <a:lstStyle/>
        <a:p>
          <a:r>
            <a:rPr lang="en-GB"/>
            <a:t>Element 5</a:t>
          </a:r>
          <a:endParaRPr lang="en-US"/>
        </a:p>
      </dgm:t>
    </dgm:pt>
    <dgm:pt modelId="{6FFF98DE-C7BA-4ECF-97DD-AE904AFB3D58}" type="parTrans" cxnId="{DF395B8E-AD79-4DCE-850A-A4051367C54B}">
      <dgm:prSet/>
      <dgm:spPr/>
      <dgm:t>
        <a:bodyPr/>
        <a:lstStyle/>
        <a:p>
          <a:endParaRPr lang="en-US"/>
        </a:p>
      </dgm:t>
    </dgm:pt>
    <dgm:pt modelId="{5F211DC5-3C46-4340-8AD2-CAB81EF78831}" type="sibTrans" cxnId="{DF395B8E-AD79-4DCE-850A-A4051367C54B}">
      <dgm:prSet/>
      <dgm:spPr/>
      <dgm:t>
        <a:bodyPr/>
        <a:lstStyle/>
        <a:p>
          <a:endParaRPr lang="en-US"/>
        </a:p>
      </dgm:t>
    </dgm:pt>
    <dgm:pt modelId="{DE12051E-535C-4F19-A059-8813C06C01F8}">
      <dgm:prSet custT="1"/>
      <dgm:spPr/>
      <dgm:t>
        <a:bodyPr/>
        <a:lstStyle/>
        <a:p>
          <a:pPr marL="0"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User Management (incl. policy)</a:t>
          </a:r>
        </a:p>
        <a:p>
          <a:pPr marL="0"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Role based access</a:t>
          </a:r>
          <a:endParaRPr lang="en-US" sz="1600" kern="1200"/>
        </a:p>
      </dgm:t>
    </dgm:pt>
    <dgm:pt modelId="{715DACDD-8931-40E7-9534-CC1364C0E4D9}" type="parTrans" cxnId="{4305C936-06E4-4C14-BCAB-65F87F01A1BC}">
      <dgm:prSet/>
      <dgm:spPr/>
      <dgm:t>
        <a:bodyPr/>
        <a:lstStyle/>
        <a:p>
          <a:endParaRPr lang="en-US"/>
        </a:p>
      </dgm:t>
    </dgm:pt>
    <dgm:pt modelId="{B840D9B6-529B-49C3-A9C3-DBE0FD1874A6}" type="sibTrans" cxnId="{4305C936-06E4-4C14-BCAB-65F87F01A1BC}">
      <dgm:prSet/>
      <dgm:spPr/>
      <dgm:t>
        <a:bodyPr/>
        <a:lstStyle/>
        <a:p>
          <a:endParaRPr lang="en-US"/>
        </a:p>
      </dgm:t>
    </dgm:pt>
    <dgm:pt modelId="{0596707D-34D3-4751-A223-B126F6AB73AF}">
      <dgm:prSet custT="1"/>
      <dgm:spPr/>
      <dgm:t>
        <a:bodyPr/>
        <a:lstStyle/>
        <a:p>
          <a:pPr rtl="0"/>
          <a:r>
            <a:rPr lang="en-GB" sz="1400"/>
            <a:t>PDGS to/from archive</a:t>
          </a:r>
          <a:r>
            <a:rPr lang="en-GB" sz="1400">
              <a:latin typeface="Arial" panose="020B0604020202020204"/>
            </a:rPr>
            <a:t>,</a:t>
          </a:r>
          <a:r>
            <a:rPr lang="en-GB" sz="1400"/>
            <a:t> </a:t>
          </a:r>
          <a:r>
            <a:rPr lang="en-GB" sz="1400" err="1">
              <a:latin typeface="Arial" panose="020B0604020202020204"/>
            </a:rPr>
            <a:t>catalog</a:t>
          </a:r>
          <a:r>
            <a:rPr lang="en-GB" sz="1400">
              <a:latin typeface="Arial" panose="020B0604020202020204"/>
            </a:rPr>
            <a:t> </a:t>
          </a:r>
          <a:r>
            <a:rPr lang="en-GB" sz="1400"/>
            <a:t>and </a:t>
          </a:r>
          <a:r>
            <a:rPr lang="en-GB" sz="1400">
              <a:latin typeface="Arial" panose="020B0604020202020204"/>
            </a:rPr>
            <a:t>dissemination</a:t>
          </a:r>
          <a:endParaRPr lang="en-US" sz="1400"/>
        </a:p>
      </dgm:t>
    </dgm:pt>
    <dgm:pt modelId="{E493CBFD-0A7D-484B-B85A-A60843813755}" type="parTrans" cxnId="{C0C55A12-6310-4799-9500-2BFAEE440411}">
      <dgm:prSet/>
      <dgm:spPr/>
      <dgm:t>
        <a:bodyPr/>
        <a:lstStyle/>
        <a:p>
          <a:endParaRPr lang="en-GB"/>
        </a:p>
      </dgm:t>
    </dgm:pt>
    <dgm:pt modelId="{ACB31162-B469-47D0-86A4-7E51CF3AD4B8}" type="sibTrans" cxnId="{C0C55A12-6310-4799-9500-2BFAEE440411}">
      <dgm:prSet/>
      <dgm:spPr/>
      <dgm:t>
        <a:bodyPr/>
        <a:lstStyle/>
        <a:p>
          <a:endParaRPr lang="en-GB"/>
        </a:p>
      </dgm:t>
    </dgm:pt>
    <dgm:pt modelId="{D93D4666-9FF6-4041-9E37-92B096F041B7}">
      <dgm:prSet phldr="0" custT="1"/>
      <dgm:spPr/>
      <dgm:t>
        <a:bodyPr/>
        <a:lstStyle/>
        <a:p>
          <a:r>
            <a:rPr lang="en-GB" sz="1600" kern="1200">
              <a:solidFill>
                <a:srgbClr val="003249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ata Access Authorisation</a:t>
          </a:r>
          <a:endParaRPr lang="en-US" sz="1600"/>
        </a:p>
      </dgm:t>
    </dgm:pt>
    <dgm:pt modelId="{2B8477AC-257B-4982-B2E4-4952DDB9AC92}" type="parTrans" cxnId="{E1658D13-2DC7-41CA-8989-4B39F91C7D43}">
      <dgm:prSet/>
      <dgm:spPr/>
      <dgm:t>
        <a:bodyPr/>
        <a:lstStyle/>
        <a:p>
          <a:endParaRPr lang="en-GB"/>
        </a:p>
      </dgm:t>
    </dgm:pt>
    <dgm:pt modelId="{31F10133-A6CD-4834-90AC-72CA607EF0E1}" type="sibTrans" cxnId="{E1658D13-2DC7-41CA-8989-4B39F91C7D43}">
      <dgm:prSet/>
      <dgm:spPr/>
      <dgm:t>
        <a:bodyPr/>
        <a:lstStyle/>
        <a:p>
          <a:endParaRPr lang="en-GB"/>
        </a:p>
      </dgm:t>
    </dgm:pt>
    <dgm:pt modelId="{7D0806BD-18DA-4E0C-B825-F363D31D876D}">
      <dgm:prSet phldr="0" custT="1"/>
      <dgm:spPr/>
      <dgm:t>
        <a:bodyPr/>
        <a:lstStyle/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GB" sz="1600" kern="1200">
              <a:solidFill>
                <a:srgbClr val="003249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Access to resources 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kern="1200"/>
            <a:t>Operator interface</a:t>
          </a:r>
          <a:endParaRPr lang="en-US" sz="1600"/>
        </a:p>
      </dgm:t>
    </dgm:pt>
    <dgm:pt modelId="{FE3588B8-E0F3-4341-8498-2BBD7E1D783F}" type="parTrans" cxnId="{9CE55ADF-D592-4410-8F92-732B046FE6B1}">
      <dgm:prSet/>
      <dgm:spPr/>
      <dgm:t>
        <a:bodyPr/>
        <a:lstStyle/>
        <a:p>
          <a:endParaRPr lang="en-GB"/>
        </a:p>
      </dgm:t>
    </dgm:pt>
    <dgm:pt modelId="{3F324144-CA22-4FCD-97B6-ACFE116AFE4E}" type="sibTrans" cxnId="{9CE55ADF-D592-4410-8F92-732B046FE6B1}">
      <dgm:prSet/>
      <dgm:spPr/>
      <dgm:t>
        <a:bodyPr/>
        <a:lstStyle/>
        <a:p>
          <a:endParaRPr lang="en-GB"/>
        </a:p>
      </dgm:t>
    </dgm:pt>
    <dgm:pt modelId="{932A4818-2DA1-47C2-86F3-EBAEE71246E5}">
      <dgm:prSet phldr="0"/>
      <dgm:spPr/>
      <dgm:t>
        <a:bodyPr/>
        <a:lstStyle/>
        <a:p>
          <a:pPr rtl="0"/>
          <a:r>
            <a:rPr lang="en-GB">
              <a:latin typeface="Arial" panose="020B0604020202020204"/>
            </a:rPr>
            <a:t>Element 2</a:t>
          </a:r>
        </a:p>
      </dgm:t>
    </dgm:pt>
    <dgm:pt modelId="{864429FB-500E-4A1F-A4AA-2357A329A372}" type="parTrans" cxnId="{5CCA6163-3BCF-4300-B6E8-B0DB0AC21F3D}">
      <dgm:prSet/>
      <dgm:spPr/>
      <dgm:t>
        <a:bodyPr/>
        <a:lstStyle/>
        <a:p>
          <a:endParaRPr lang="en-GB"/>
        </a:p>
      </dgm:t>
    </dgm:pt>
    <dgm:pt modelId="{9EBB9279-CCD5-4386-B0BF-0D7012FE0378}" type="sibTrans" cxnId="{5CCA6163-3BCF-4300-B6E8-B0DB0AC21F3D}">
      <dgm:prSet/>
      <dgm:spPr/>
      <dgm:t>
        <a:bodyPr/>
        <a:lstStyle/>
        <a:p>
          <a:endParaRPr lang="en-GB"/>
        </a:p>
      </dgm:t>
    </dgm:pt>
    <dgm:pt modelId="{A698E4C1-0D77-4FF8-B552-28DC63823BBA}">
      <dgm:prSet phldr="0" custT="1"/>
      <dgm:spPr/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en-GB" sz="1600">
              <a:latin typeface="Arial" panose="020B0604020202020204"/>
            </a:rPr>
            <a:t>Data Access from archive</a:t>
          </a:r>
        </a:p>
      </dgm:t>
    </dgm:pt>
    <dgm:pt modelId="{EE320619-0208-441D-BFFF-B0FC8DF37E30}" type="parTrans" cxnId="{B091DCCE-617A-4C20-9299-9C6540013E2B}">
      <dgm:prSet/>
      <dgm:spPr/>
      <dgm:t>
        <a:bodyPr/>
        <a:lstStyle/>
        <a:p>
          <a:endParaRPr lang="en-GB"/>
        </a:p>
      </dgm:t>
    </dgm:pt>
    <dgm:pt modelId="{22F98988-AC52-4B29-8D70-25D94942FE71}" type="sibTrans" cxnId="{B091DCCE-617A-4C20-9299-9C6540013E2B}">
      <dgm:prSet/>
      <dgm:spPr/>
      <dgm:t>
        <a:bodyPr/>
        <a:lstStyle/>
        <a:p>
          <a:endParaRPr lang="en-GB"/>
        </a:p>
      </dgm:t>
    </dgm:pt>
    <dgm:pt modelId="{40710F19-86F5-4633-B45B-5AE6C9B20D2F}">
      <dgm:prSet phldr="0" custT="1"/>
      <dgm:spPr/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en-GB" sz="1600">
              <a:latin typeface="Arial" panose="020B0604020202020204"/>
            </a:rPr>
            <a:t>User authorisation (partial)</a:t>
          </a:r>
        </a:p>
      </dgm:t>
    </dgm:pt>
    <dgm:pt modelId="{8C70CE6F-AE18-47CE-A711-33DD928C2294}" type="parTrans" cxnId="{FFF3BB68-F225-4EE5-8C0D-BE1D9AF5DD89}">
      <dgm:prSet/>
      <dgm:spPr/>
      <dgm:t>
        <a:bodyPr/>
        <a:lstStyle/>
        <a:p>
          <a:endParaRPr lang="en-GB"/>
        </a:p>
      </dgm:t>
    </dgm:pt>
    <dgm:pt modelId="{5B462361-B9A3-4C5E-86D9-AB2DEC21563A}" type="sibTrans" cxnId="{FFF3BB68-F225-4EE5-8C0D-BE1D9AF5DD89}">
      <dgm:prSet/>
      <dgm:spPr/>
      <dgm:t>
        <a:bodyPr/>
        <a:lstStyle/>
        <a:p>
          <a:endParaRPr lang="en-GB"/>
        </a:p>
      </dgm:t>
    </dgm:pt>
    <dgm:pt modelId="{5D3A560E-B5E0-42AA-AF2D-524E909AC45E}">
      <dgm:prSet phldr="0" custT="1"/>
      <dgm:spPr/>
      <dgm:t>
        <a:bodyPr/>
        <a:lstStyle/>
        <a:p>
          <a:r>
            <a:rPr lang="en-GB" sz="1400">
              <a:latin typeface="Arial" panose="020B0604020202020204"/>
            </a:rPr>
            <a:t>Download</a:t>
          </a:r>
          <a:endParaRPr lang="en-US" sz="1400"/>
        </a:p>
      </dgm:t>
    </dgm:pt>
    <dgm:pt modelId="{61889A4E-7D35-4E50-9E0E-4CA4560AEECB}" type="parTrans" cxnId="{2973DD3E-DAD6-4C4D-82A9-94F9004F94F3}">
      <dgm:prSet/>
      <dgm:spPr/>
      <dgm:t>
        <a:bodyPr/>
        <a:lstStyle/>
        <a:p>
          <a:endParaRPr lang="en-GB"/>
        </a:p>
      </dgm:t>
    </dgm:pt>
    <dgm:pt modelId="{81692427-1E04-44FC-A5C2-A56322E8E0B4}" type="sibTrans" cxnId="{2973DD3E-DAD6-4C4D-82A9-94F9004F94F3}">
      <dgm:prSet/>
      <dgm:spPr/>
      <dgm:t>
        <a:bodyPr/>
        <a:lstStyle/>
        <a:p>
          <a:endParaRPr lang="en-GB"/>
        </a:p>
      </dgm:t>
    </dgm:pt>
    <dgm:pt modelId="{4D6F1A73-C1FB-4775-A960-B65CE19EBCD0}">
      <dgm:prSet phldr="0" custT="1"/>
      <dgm:spPr/>
      <dgm:t>
        <a:bodyPr/>
        <a:lstStyle/>
        <a:p>
          <a:pPr rtl="0"/>
          <a:r>
            <a:rPr lang="en-GB" sz="1400">
              <a:latin typeface="Arial" panose="020B0604020202020204"/>
            </a:rPr>
            <a:t>Ordering</a:t>
          </a:r>
          <a:endParaRPr lang="en-US" sz="1400">
            <a:latin typeface="Arial" panose="020B0604020202020204"/>
          </a:endParaRPr>
        </a:p>
      </dgm:t>
    </dgm:pt>
    <dgm:pt modelId="{2C89D432-1FB8-4429-904E-49AB22A65B6B}" type="parTrans" cxnId="{D80BDEFA-2714-4A51-A685-B61C9DD3135F}">
      <dgm:prSet/>
      <dgm:spPr/>
      <dgm:t>
        <a:bodyPr/>
        <a:lstStyle/>
        <a:p>
          <a:endParaRPr lang="en-GB"/>
        </a:p>
      </dgm:t>
    </dgm:pt>
    <dgm:pt modelId="{13DD152D-1B42-4ED9-855D-6CAB1655FC69}" type="sibTrans" cxnId="{D80BDEFA-2714-4A51-A685-B61C9DD3135F}">
      <dgm:prSet/>
      <dgm:spPr/>
      <dgm:t>
        <a:bodyPr/>
        <a:lstStyle/>
        <a:p>
          <a:endParaRPr lang="en-GB"/>
        </a:p>
      </dgm:t>
    </dgm:pt>
    <dgm:pt modelId="{0D549C2C-8A72-4CDA-8D89-B77E88199690}">
      <dgm:prSet custT="1"/>
      <dgm:spPr/>
      <dgm:t>
        <a:bodyPr/>
        <a:lstStyle/>
        <a:p>
          <a:r>
            <a:rPr lang="en-GB" sz="1600"/>
            <a:t>Catalogue Interfaces (STAC)</a:t>
          </a:r>
        </a:p>
        <a:p>
          <a:r>
            <a:rPr lang="en-GB" sz="1600"/>
            <a:t>Data conversion (COG, ZARR)</a:t>
          </a:r>
        </a:p>
        <a:p>
          <a:r>
            <a:rPr lang="en-GB" sz="1600"/>
            <a:t>Metadata encoding (Geo-JSON)</a:t>
          </a:r>
          <a:endParaRPr lang="en-US" sz="1600"/>
        </a:p>
      </dgm:t>
    </dgm:pt>
    <dgm:pt modelId="{FE488810-C17C-4C4A-B0B7-6A2470CC58DD}" type="sibTrans" cxnId="{C778F986-DD58-4B9A-998A-91C972B2DE69}">
      <dgm:prSet/>
      <dgm:spPr/>
      <dgm:t>
        <a:bodyPr/>
        <a:lstStyle/>
        <a:p>
          <a:endParaRPr lang="en-US"/>
        </a:p>
      </dgm:t>
    </dgm:pt>
    <dgm:pt modelId="{5AA63DE4-5A6C-431B-A381-38135BD97537}" type="parTrans" cxnId="{C778F986-DD58-4B9A-998A-91C972B2DE69}">
      <dgm:prSet/>
      <dgm:spPr/>
      <dgm:t>
        <a:bodyPr/>
        <a:lstStyle/>
        <a:p>
          <a:endParaRPr lang="en-US"/>
        </a:p>
      </dgm:t>
    </dgm:pt>
    <dgm:pt modelId="{1BB4DAB3-6331-44A6-AB86-82ECC64C965B}">
      <dgm:prSet custT="1"/>
      <dgm:spPr/>
      <dgm:t>
        <a:bodyPr/>
        <a:lstStyle/>
        <a:p>
          <a:pPr rtl="0"/>
          <a:endParaRPr lang="en-GB" sz="1400"/>
        </a:p>
      </dgm:t>
    </dgm:pt>
    <dgm:pt modelId="{A975611E-2F75-472E-990A-71FB1147F71C}" type="parTrans" cxnId="{AE99AA3F-CDB1-45DB-A7A6-E666BB95EB82}">
      <dgm:prSet/>
      <dgm:spPr/>
      <dgm:t>
        <a:bodyPr/>
        <a:lstStyle/>
        <a:p>
          <a:endParaRPr lang="en-GB"/>
        </a:p>
      </dgm:t>
    </dgm:pt>
    <dgm:pt modelId="{8E7313F8-4C83-4088-AFDF-696BD281F18E}" type="sibTrans" cxnId="{AE99AA3F-CDB1-45DB-A7A6-E666BB95EB82}">
      <dgm:prSet/>
      <dgm:spPr/>
      <dgm:t>
        <a:bodyPr/>
        <a:lstStyle/>
        <a:p>
          <a:endParaRPr lang="en-GB"/>
        </a:p>
      </dgm:t>
    </dgm:pt>
    <dgm:pt modelId="{1CFE485A-DF06-4F9B-A777-A445D9F6A8F3}">
      <dgm:prSet custT="1"/>
      <dgm:spPr/>
      <dgm:t>
        <a:bodyPr/>
        <a:lstStyle/>
        <a:p>
          <a:pPr rtl="0"/>
          <a:endParaRPr lang="en-GB" sz="1400"/>
        </a:p>
      </dgm:t>
    </dgm:pt>
    <dgm:pt modelId="{6F040143-6779-4F4F-AF67-9B049E35A6F7}" type="parTrans" cxnId="{274452F2-DD3B-4B4C-84FA-A3AE63375912}">
      <dgm:prSet/>
      <dgm:spPr/>
      <dgm:t>
        <a:bodyPr/>
        <a:lstStyle/>
        <a:p>
          <a:endParaRPr lang="en-GB"/>
        </a:p>
      </dgm:t>
    </dgm:pt>
    <dgm:pt modelId="{EB11741E-0698-43E4-8C61-E345254C68CE}" type="sibTrans" cxnId="{274452F2-DD3B-4B4C-84FA-A3AE63375912}">
      <dgm:prSet/>
      <dgm:spPr/>
      <dgm:t>
        <a:bodyPr/>
        <a:lstStyle/>
        <a:p>
          <a:endParaRPr lang="en-GB"/>
        </a:p>
      </dgm:t>
    </dgm:pt>
    <dgm:pt modelId="{5A2DE52C-BE8B-4EB1-910A-0055F2A3C61E}">
      <dgm:prSet custT="1"/>
      <dgm:spPr/>
      <dgm:t>
        <a:bodyPr/>
        <a:lstStyle/>
        <a:p>
          <a:r>
            <a:rPr lang="en-GB" sz="1600"/>
            <a:t>Resource Viewer</a:t>
          </a:r>
        </a:p>
      </dgm:t>
    </dgm:pt>
    <dgm:pt modelId="{06A9A86A-FBCA-45CA-81C8-F26C0A512A54}" type="parTrans" cxnId="{3FE1664A-6D47-4027-B6B1-C9E804B2B587}">
      <dgm:prSet/>
      <dgm:spPr/>
      <dgm:t>
        <a:bodyPr/>
        <a:lstStyle/>
        <a:p>
          <a:endParaRPr lang="en-GB"/>
        </a:p>
      </dgm:t>
    </dgm:pt>
    <dgm:pt modelId="{DAA4F3ED-B51E-4BED-8783-B59028DD7D42}" type="sibTrans" cxnId="{3FE1664A-6D47-4027-B6B1-C9E804B2B587}">
      <dgm:prSet/>
      <dgm:spPr/>
      <dgm:t>
        <a:bodyPr/>
        <a:lstStyle/>
        <a:p>
          <a:endParaRPr lang="en-GB"/>
        </a:p>
      </dgm:t>
    </dgm:pt>
    <dgm:pt modelId="{32A881EF-26D8-425D-AC02-05A845D69D17}">
      <dgm:prSet custT="1"/>
      <dgm:spPr/>
      <dgm:t>
        <a:bodyPr/>
        <a:lstStyle/>
        <a:p>
          <a:pPr rtl="0"/>
          <a:r>
            <a:rPr lang="en-GB" sz="1400"/>
            <a:t>Improved User Experience</a:t>
          </a:r>
          <a:endParaRPr lang="en-US" sz="1400"/>
        </a:p>
      </dgm:t>
    </dgm:pt>
    <dgm:pt modelId="{D9E1BF71-C6CF-419D-B969-521D9AE2EE44}" type="parTrans" cxnId="{32C71714-B57C-4E31-883C-AC1250AAE326}">
      <dgm:prSet/>
      <dgm:spPr/>
      <dgm:t>
        <a:bodyPr/>
        <a:lstStyle/>
        <a:p>
          <a:endParaRPr lang="en-GB"/>
        </a:p>
      </dgm:t>
    </dgm:pt>
    <dgm:pt modelId="{0FB0A9DD-879A-43F6-94E6-AF0354E8E289}" type="sibTrans" cxnId="{32C71714-B57C-4E31-883C-AC1250AAE326}">
      <dgm:prSet/>
      <dgm:spPr/>
      <dgm:t>
        <a:bodyPr/>
        <a:lstStyle/>
        <a:p>
          <a:endParaRPr lang="en-GB"/>
        </a:p>
      </dgm:t>
    </dgm:pt>
    <dgm:pt modelId="{D3406A08-25DA-4F99-95CE-88CC0998873A}">
      <dgm:prSet custT="1"/>
      <dgm:spPr/>
      <dgm:t>
        <a:bodyPr/>
        <a:lstStyle/>
        <a:p>
          <a:pPr rtl="0"/>
          <a:r>
            <a:rPr lang="en-GB" sz="1400"/>
            <a:t>Data &amp; Service Discovery</a:t>
          </a:r>
        </a:p>
      </dgm:t>
    </dgm:pt>
    <dgm:pt modelId="{0F16844C-FF9A-4C30-8375-41377A82F1BB}" type="parTrans" cxnId="{662CF361-FB3D-422A-9A72-9238380E3960}">
      <dgm:prSet/>
      <dgm:spPr/>
      <dgm:t>
        <a:bodyPr/>
        <a:lstStyle/>
        <a:p>
          <a:endParaRPr lang="en-GB"/>
        </a:p>
      </dgm:t>
    </dgm:pt>
    <dgm:pt modelId="{136A4208-0F6D-4320-ACF0-7492A2DB5A70}" type="sibTrans" cxnId="{662CF361-FB3D-422A-9A72-9238380E3960}">
      <dgm:prSet/>
      <dgm:spPr/>
      <dgm:t>
        <a:bodyPr/>
        <a:lstStyle/>
        <a:p>
          <a:endParaRPr lang="en-GB"/>
        </a:p>
      </dgm:t>
    </dgm:pt>
    <dgm:pt modelId="{C2D841B4-AD9E-4D4F-B298-275E8C1716D8}">
      <dgm:prSet custT="1"/>
      <dgm:spPr/>
      <dgm:t>
        <a:bodyPr/>
        <a:lstStyle/>
        <a:p>
          <a:pPr rtl="0"/>
          <a:r>
            <a:rPr lang="en-GB" sz="1400"/>
            <a:t>User login</a:t>
          </a:r>
        </a:p>
      </dgm:t>
    </dgm:pt>
    <dgm:pt modelId="{E649CBB4-643E-4981-A654-927A4238D147}" type="parTrans" cxnId="{91433E1C-87FF-4E90-B921-1920CD98A8B2}">
      <dgm:prSet/>
      <dgm:spPr/>
      <dgm:t>
        <a:bodyPr/>
        <a:lstStyle/>
        <a:p>
          <a:endParaRPr lang="en-GB"/>
        </a:p>
      </dgm:t>
    </dgm:pt>
    <dgm:pt modelId="{55958113-09D9-43A4-B0FE-19758BAC18C4}" type="sibTrans" cxnId="{91433E1C-87FF-4E90-B921-1920CD98A8B2}">
      <dgm:prSet/>
      <dgm:spPr/>
      <dgm:t>
        <a:bodyPr/>
        <a:lstStyle/>
        <a:p>
          <a:endParaRPr lang="en-GB"/>
        </a:p>
      </dgm:t>
    </dgm:pt>
    <dgm:pt modelId="{A926F582-F453-4019-8B8C-9AD36F25760D}">
      <dgm:prSet custT="1"/>
      <dgm:spPr/>
      <dgm:t>
        <a:bodyPr/>
        <a:lstStyle/>
        <a:p>
          <a:pPr rtl="0"/>
          <a:endParaRPr lang="en-GB" sz="1400"/>
        </a:p>
      </dgm:t>
    </dgm:pt>
    <dgm:pt modelId="{54CFC184-8E31-449F-A404-86011F421FA1}" type="parTrans" cxnId="{4A33959A-BA2A-45CF-BC44-DD9B52E63D06}">
      <dgm:prSet/>
      <dgm:spPr/>
      <dgm:t>
        <a:bodyPr/>
        <a:lstStyle/>
        <a:p>
          <a:endParaRPr lang="en-GB"/>
        </a:p>
      </dgm:t>
    </dgm:pt>
    <dgm:pt modelId="{C2C2FF4D-B267-46FA-AC07-D6D2A1855882}" type="sibTrans" cxnId="{4A33959A-BA2A-45CF-BC44-DD9B52E63D06}">
      <dgm:prSet/>
      <dgm:spPr/>
      <dgm:t>
        <a:bodyPr/>
        <a:lstStyle/>
        <a:p>
          <a:endParaRPr lang="en-GB"/>
        </a:p>
      </dgm:t>
    </dgm:pt>
    <dgm:pt modelId="{11D8DBD2-2505-4448-A40F-473F4752BB5C}">
      <dgm:prSet custT="1"/>
      <dgm:spPr/>
      <dgm:t>
        <a:bodyPr/>
        <a:lstStyle/>
        <a:p>
          <a:pPr rtl="0"/>
          <a:endParaRPr lang="en-GB" sz="1400"/>
        </a:p>
      </dgm:t>
    </dgm:pt>
    <dgm:pt modelId="{06C3BD06-F495-47BB-AA6A-53220BDB296D}" type="parTrans" cxnId="{B05CA736-FB1E-40BC-BF10-1A24BF3D711B}">
      <dgm:prSet/>
      <dgm:spPr/>
      <dgm:t>
        <a:bodyPr/>
        <a:lstStyle/>
        <a:p>
          <a:endParaRPr lang="en-GB"/>
        </a:p>
      </dgm:t>
    </dgm:pt>
    <dgm:pt modelId="{87F01004-C75C-4125-8C66-C1408CE4DCF9}" type="sibTrans" cxnId="{B05CA736-FB1E-40BC-BF10-1A24BF3D711B}">
      <dgm:prSet/>
      <dgm:spPr/>
      <dgm:t>
        <a:bodyPr/>
        <a:lstStyle/>
        <a:p>
          <a:endParaRPr lang="en-GB"/>
        </a:p>
      </dgm:t>
    </dgm:pt>
    <dgm:pt modelId="{D0D5B22E-35A3-4878-95C2-7AB50AF6D210}" type="pres">
      <dgm:prSet presAssocID="{BCD55AB3-9711-47F1-9E6D-196C37BB5175}" presName="Name0" presStyleCnt="0">
        <dgm:presLayoutVars>
          <dgm:dir/>
          <dgm:animLvl val="lvl"/>
          <dgm:resizeHandles val="exact"/>
        </dgm:presLayoutVars>
      </dgm:prSet>
      <dgm:spPr/>
    </dgm:pt>
    <dgm:pt modelId="{9F93E896-C6C0-48A7-9AC5-3E07D0AEA8E7}" type="pres">
      <dgm:prSet presAssocID="{8950D927-5E9B-4D0B-B319-7AD53BA8D68C}" presName="composite" presStyleCnt="0"/>
      <dgm:spPr/>
    </dgm:pt>
    <dgm:pt modelId="{4DB4E3E4-82B6-49A6-BC0F-25232DFBA553}" type="pres">
      <dgm:prSet presAssocID="{8950D927-5E9B-4D0B-B319-7AD53BA8D68C}" presName="parTx" presStyleLbl="alignNode1" presStyleIdx="0" presStyleCnt="5">
        <dgm:presLayoutVars>
          <dgm:chMax val="0"/>
          <dgm:chPref val="0"/>
        </dgm:presLayoutVars>
      </dgm:prSet>
      <dgm:spPr/>
    </dgm:pt>
    <dgm:pt modelId="{D16B717B-7608-46C3-9DA6-E32AB4DD8334}" type="pres">
      <dgm:prSet presAssocID="{8950D927-5E9B-4D0B-B319-7AD53BA8D68C}" presName="desTx" presStyleLbl="alignAccFollowNode1" presStyleIdx="0" presStyleCnt="5">
        <dgm:presLayoutVars/>
      </dgm:prSet>
      <dgm:spPr/>
    </dgm:pt>
    <dgm:pt modelId="{F9FF7628-C2F2-432F-A01C-A640A9D66E71}" type="pres">
      <dgm:prSet presAssocID="{B4F8D002-4A06-4183-9387-AFD13CBDEA80}" presName="space" presStyleCnt="0"/>
      <dgm:spPr/>
    </dgm:pt>
    <dgm:pt modelId="{4DF33988-0AAA-40D1-813A-EF35B6E7D422}" type="pres">
      <dgm:prSet presAssocID="{932A4818-2DA1-47C2-86F3-EBAEE71246E5}" presName="composite" presStyleCnt="0"/>
      <dgm:spPr/>
    </dgm:pt>
    <dgm:pt modelId="{A42E6BA1-F0C0-4222-8E75-23C43A4F61A5}" type="pres">
      <dgm:prSet presAssocID="{932A4818-2DA1-47C2-86F3-EBAEE71246E5}" presName="parTx" presStyleLbl="alignNode1" presStyleIdx="1" presStyleCnt="5">
        <dgm:presLayoutVars>
          <dgm:chMax val="0"/>
          <dgm:chPref val="0"/>
        </dgm:presLayoutVars>
      </dgm:prSet>
      <dgm:spPr/>
    </dgm:pt>
    <dgm:pt modelId="{BF2BDE9C-6D42-497A-A532-A3D7F6B35DA8}" type="pres">
      <dgm:prSet presAssocID="{932A4818-2DA1-47C2-86F3-EBAEE71246E5}" presName="desTx" presStyleLbl="alignAccFollowNode1" presStyleIdx="1" presStyleCnt="5">
        <dgm:presLayoutVars/>
      </dgm:prSet>
      <dgm:spPr/>
    </dgm:pt>
    <dgm:pt modelId="{4C18EFAF-C1EC-450F-9689-897B2D23FB8D}" type="pres">
      <dgm:prSet presAssocID="{9EBB9279-CCD5-4386-B0BF-0D7012FE0378}" presName="space" presStyleCnt="0"/>
      <dgm:spPr/>
    </dgm:pt>
    <dgm:pt modelId="{4262B1C7-3073-4028-9BAF-C90FABC0FDA4}" type="pres">
      <dgm:prSet presAssocID="{902C2252-7885-4A26-9D55-A34823D6BE9F}" presName="composite" presStyleCnt="0"/>
      <dgm:spPr/>
    </dgm:pt>
    <dgm:pt modelId="{6D780735-B4D9-4BC8-BF19-7ED2E7120E22}" type="pres">
      <dgm:prSet presAssocID="{902C2252-7885-4A26-9D55-A34823D6BE9F}" presName="parTx" presStyleLbl="alignNode1" presStyleIdx="2" presStyleCnt="5">
        <dgm:presLayoutVars>
          <dgm:chMax val="0"/>
          <dgm:chPref val="0"/>
        </dgm:presLayoutVars>
      </dgm:prSet>
      <dgm:spPr/>
    </dgm:pt>
    <dgm:pt modelId="{77A7DF20-820E-455C-AD61-BD73884ED53D}" type="pres">
      <dgm:prSet presAssocID="{902C2252-7885-4A26-9D55-A34823D6BE9F}" presName="desTx" presStyleLbl="alignAccFollowNode1" presStyleIdx="2" presStyleCnt="5">
        <dgm:presLayoutVars/>
      </dgm:prSet>
      <dgm:spPr/>
    </dgm:pt>
    <dgm:pt modelId="{AF2E8B08-BDBD-4097-A8EB-5F41C9CAF78A}" type="pres">
      <dgm:prSet presAssocID="{5A783DAB-B29D-4AA8-88B3-F7E5A79554C6}" presName="space" presStyleCnt="0"/>
      <dgm:spPr/>
    </dgm:pt>
    <dgm:pt modelId="{4F91F132-B6A5-45B7-A68D-5FB10D27C2E5}" type="pres">
      <dgm:prSet presAssocID="{0D810391-3B3F-493A-B1A3-6153FB4FF5B5}" presName="composite" presStyleCnt="0"/>
      <dgm:spPr/>
    </dgm:pt>
    <dgm:pt modelId="{AD64BFAE-BC3E-415A-807C-826ADDB5A088}" type="pres">
      <dgm:prSet presAssocID="{0D810391-3B3F-493A-B1A3-6153FB4FF5B5}" presName="parTx" presStyleLbl="alignNode1" presStyleIdx="3" presStyleCnt="5">
        <dgm:presLayoutVars>
          <dgm:chMax val="0"/>
          <dgm:chPref val="0"/>
        </dgm:presLayoutVars>
      </dgm:prSet>
      <dgm:spPr/>
    </dgm:pt>
    <dgm:pt modelId="{7E1C2A1B-A4D8-46F9-A6B2-D436E1858E8B}" type="pres">
      <dgm:prSet presAssocID="{0D810391-3B3F-493A-B1A3-6153FB4FF5B5}" presName="desTx" presStyleLbl="alignAccFollowNode1" presStyleIdx="3" presStyleCnt="5">
        <dgm:presLayoutVars/>
      </dgm:prSet>
      <dgm:spPr/>
    </dgm:pt>
    <dgm:pt modelId="{2F71C321-F696-4544-9445-01B7BFDB706A}" type="pres">
      <dgm:prSet presAssocID="{7BE1F944-FCB6-4685-98F1-AE218E3756EC}" presName="space" presStyleCnt="0"/>
      <dgm:spPr/>
    </dgm:pt>
    <dgm:pt modelId="{6AF54C36-253D-42B0-AC10-B0ABA10A4D49}" type="pres">
      <dgm:prSet presAssocID="{2C5379E6-0975-43CC-890E-D7B545DD7FE9}" presName="composite" presStyleCnt="0"/>
      <dgm:spPr/>
    </dgm:pt>
    <dgm:pt modelId="{6CD2BAB4-7057-4141-BFD2-E3E6CF45C8F7}" type="pres">
      <dgm:prSet presAssocID="{2C5379E6-0975-43CC-890E-D7B545DD7FE9}" presName="parTx" presStyleLbl="alignNode1" presStyleIdx="4" presStyleCnt="5">
        <dgm:presLayoutVars>
          <dgm:chMax val="0"/>
          <dgm:chPref val="0"/>
        </dgm:presLayoutVars>
      </dgm:prSet>
      <dgm:spPr/>
    </dgm:pt>
    <dgm:pt modelId="{BC1D45FF-7779-423F-A20F-3A236F800D5F}" type="pres">
      <dgm:prSet presAssocID="{2C5379E6-0975-43CC-890E-D7B545DD7FE9}" presName="desTx" presStyleLbl="alignAccFollowNode1" presStyleIdx="4" presStyleCnt="5">
        <dgm:presLayoutVars/>
      </dgm:prSet>
      <dgm:spPr/>
    </dgm:pt>
  </dgm:ptLst>
  <dgm:cxnLst>
    <dgm:cxn modelId="{A90BE507-B542-4450-9D16-CE1B8CFC3FCC}" type="presOf" srcId="{0D810391-3B3F-493A-B1A3-6153FB4FF5B5}" destId="{AD64BFAE-BC3E-415A-807C-826ADDB5A088}" srcOrd="0" destOrd="0" presId="urn:microsoft.com/office/officeart/2016/7/layout/ChevronBlockProcess"/>
    <dgm:cxn modelId="{E2A7DA11-B784-4473-B69C-5FDA012697F1}" type="presOf" srcId="{A926F582-F453-4019-8B8C-9AD36F25760D}" destId="{7E1C2A1B-A4D8-46F9-A6B2-D436E1858E8B}" srcOrd="0" destOrd="4" presId="urn:microsoft.com/office/officeart/2016/7/layout/ChevronBlockProcess"/>
    <dgm:cxn modelId="{C0C55A12-6310-4799-9500-2BFAEE440411}" srcId="{E7FA56E1-AB6F-427C-BD40-69C6CE78E880}" destId="{0596707D-34D3-4751-A223-B126F6AB73AF}" srcOrd="0" destOrd="0" parTransId="{E493CBFD-0A7D-484B-B85A-A60843813755}" sibTransId="{ACB31162-B469-47D0-86A4-7E51CF3AD4B8}"/>
    <dgm:cxn modelId="{E1658D13-2DC7-41CA-8989-4B39F91C7D43}" srcId="{2C5379E6-0975-43CC-890E-D7B545DD7FE9}" destId="{D93D4666-9FF6-4041-9E37-92B096F041B7}" srcOrd="1" destOrd="0" parTransId="{2B8477AC-257B-4982-B2E4-4952DDB9AC92}" sibTransId="{31F10133-A6CD-4834-90AC-72CA607EF0E1}"/>
    <dgm:cxn modelId="{04979613-CA5F-498A-A127-0FEB51E0BFED}" type="presOf" srcId="{A698E4C1-0D77-4FF8-B552-28DC63823BBA}" destId="{BF2BDE9C-6D42-497A-A532-A3D7F6B35DA8}" srcOrd="0" destOrd="0" presId="urn:microsoft.com/office/officeart/2016/7/layout/ChevronBlockProcess"/>
    <dgm:cxn modelId="{32C71714-B57C-4E31-883C-AC1250AAE326}" srcId="{5A2DE52C-BE8B-4EB1-910A-0055F2A3C61E}" destId="{32A881EF-26D8-425D-AC02-05A845D69D17}" srcOrd="0" destOrd="0" parTransId="{D9E1BF71-C6CF-419D-B969-521D9AE2EE44}" sibTransId="{0FB0A9DD-879A-43F6-94E6-AF0354E8E289}"/>
    <dgm:cxn modelId="{EC10AD17-2025-4B92-A655-2FE79CD5A95D}" srcId="{902C2252-7885-4A26-9D55-A34823D6BE9F}" destId="{E7FA56E1-AB6F-427C-BD40-69C6CE78E880}" srcOrd="0" destOrd="0" parTransId="{9DC8547B-3DDF-49CB-8764-80ECCDCF1DFD}" sibTransId="{72FCB606-961F-4AAB-9B92-4C9832376146}"/>
    <dgm:cxn modelId="{91433E1C-87FF-4E90-B921-1920CD98A8B2}" srcId="{5A2DE52C-BE8B-4EB1-910A-0055F2A3C61E}" destId="{C2D841B4-AD9E-4D4F-B298-275E8C1716D8}" srcOrd="2" destOrd="0" parTransId="{E649CBB4-643E-4981-A654-927A4238D147}" sibTransId="{55958113-09D9-43A4-B0FE-19758BAC18C4}"/>
    <dgm:cxn modelId="{9F755E28-0544-4E28-95FA-C88A9A778902}" type="presOf" srcId="{D3406A08-25DA-4F99-95CE-88CC0998873A}" destId="{7E1C2A1B-A4D8-46F9-A6B2-D436E1858E8B}" srcOrd="0" destOrd="2" presId="urn:microsoft.com/office/officeart/2016/7/layout/ChevronBlockProcess"/>
    <dgm:cxn modelId="{B05CA736-FB1E-40BC-BF10-1A24BF3D711B}" srcId="{5A2DE52C-BE8B-4EB1-910A-0055F2A3C61E}" destId="{11D8DBD2-2505-4448-A40F-473F4752BB5C}" srcOrd="4" destOrd="0" parTransId="{06C3BD06-F495-47BB-AA6A-53220BDB296D}" sibTransId="{87F01004-C75C-4125-8C66-C1408CE4DCF9}"/>
    <dgm:cxn modelId="{4305C936-06E4-4C14-BCAB-65F87F01A1BC}" srcId="{2C5379E6-0975-43CC-890E-D7B545DD7FE9}" destId="{DE12051E-535C-4F19-A059-8813C06C01F8}" srcOrd="0" destOrd="0" parTransId="{715DACDD-8931-40E7-9534-CC1364C0E4D9}" sibTransId="{B840D9B6-529B-49C3-A9C3-DBE0FD1874A6}"/>
    <dgm:cxn modelId="{7E33B938-D7C7-4C39-BC77-D81112BBF25A}" type="presOf" srcId="{932A4818-2DA1-47C2-86F3-EBAEE71246E5}" destId="{A42E6BA1-F0C0-4222-8E75-23C43A4F61A5}" srcOrd="0" destOrd="0" presId="urn:microsoft.com/office/officeart/2016/7/layout/ChevronBlockProcess"/>
    <dgm:cxn modelId="{542C2C3D-E986-48AB-8B7F-B722312E911F}" type="presOf" srcId="{DE12051E-535C-4F19-A059-8813C06C01F8}" destId="{BC1D45FF-7779-423F-A20F-3A236F800D5F}" srcOrd="0" destOrd="0" presId="urn:microsoft.com/office/officeart/2016/7/layout/ChevronBlockProcess"/>
    <dgm:cxn modelId="{2973DD3E-DAD6-4C4D-82A9-94F9004F94F3}" srcId="{A698E4C1-0D77-4FF8-B552-28DC63823BBA}" destId="{5D3A560E-B5E0-42AA-AF2D-524E909AC45E}" srcOrd="1" destOrd="0" parTransId="{61889A4E-7D35-4E50-9E0E-4CA4560AEECB}" sibTransId="{81692427-1E04-44FC-A5C2-A56322E8E0B4}"/>
    <dgm:cxn modelId="{AE99AA3F-CDB1-45DB-A7A6-E666BB95EB82}" srcId="{E7FA56E1-AB6F-427C-BD40-69C6CE78E880}" destId="{1BB4DAB3-6331-44A6-AB86-82ECC64C965B}" srcOrd="2" destOrd="0" parTransId="{A975611E-2F75-472E-990A-71FB1147F71C}" sibTransId="{8E7313F8-4C83-4088-AFDF-696BD281F18E}"/>
    <dgm:cxn modelId="{1668805E-0602-4B9C-89FB-CED65E945E56}" type="presOf" srcId="{11D8DBD2-2505-4448-A40F-473F4752BB5C}" destId="{7E1C2A1B-A4D8-46F9-A6B2-D436E1858E8B}" srcOrd="0" destOrd="5" presId="urn:microsoft.com/office/officeart/2016/7/layout/ChevronBlockProcess"/>
    <dgm:cxn modelId="{662CF361-FB3D-422A-9A72-9238380E3960}" srcId="{5A2DE52C-BE8B-4EB1-910A-0055F2A3C61E}" destId="{D3406A08-25DA-4F99-95CE-88CC0998873A}" srcOrd="1" destOrd="0" parTransId="{0F16844C-FF9A-4C30-8375-41377A82F1BB}" sibTransId="{136A4208-0F6D-4320-ACF0-7492A2DB5A70}"/>
    <dgm:cxn modelId="{5CCA6163-3BCF-4300-B6E8-B0DB0AC21F3D}" srcId="{BCD55AB3-9711-47F1-9E6D-196C37BB5175}" destId="{932A4818-2DA1-47C2-86F3-EBAEE71246E5}" srcOrd="1" destOrd="0" parTransId="{864429FB-500E-4A1F-A4AA-2357A329A372}" sibTransId="{9EBB9279-CCD5-4386-B0BF-0D7012FE0378}"/>
    <dgm:cxn modelId="{FFF3BB68-F225-4EE5-8C0D-BE1D9AF5DD89}" srcId="{932A4818-2DA1-47C2-86F3-EBAEE71246E5}" destId="{40710F19-86F5-4633-B45B-5AE6C9B20D2F}" srcOrd="1" destOrd="0" parTransId="{8C70CE6F-AE18-47CE-A711-33DD928C2294}" sibTransId="{5B462361-B9A3-4C5E-86D9-AB2DEC21563A}"/>
    <dgm:cxn modelId="{3FE1664A-6D47-4027-B6B1-C9E804B2B587}" srcId="{0D810391-3B3F-493A-B1A3-6153FB4FF5B5}" destId="{5A2DE52C-BE8B-4EB1-910A-0055F2A3C61E}" srcOrd="0" destOrd="0" parTransId="{06A9A86A-FBCA-45CA-81C8-F26C0A512A54}" sibTransId="{DAA4F3ED-B51E-4BED-8783-B59028DD7D42}"/>
    <dgm:cxn modelId="{303B436C-80A1-459F-92C0-BC4B4A39F6A1}" type="presOf" srcId="{5D3A560E-B5E0-42AA-AF2D-524E909AC45E}" destId="{BF2BDE9C-6D42-497A-A532-A3D7F6B35DA8}" srcOrd="0" destOrd="2" presId="urn:microsoft.com/office/officeart/2016/7/layout/ChevronBlockProcess"/>
    <dgm:cxn modelId="{71AD1E6E-FD27-487E-8B8C-85266AD00075}" type="presOf" srcId="{5A2DE52C-BE8B-4EB1-910A-0055F2A3C61E}" destId="{7E1C2A1B-A4D8-46F9-A6B2-D436E1858E8B}" srcOrd="0" destOrd="0" presId="urn:microsoft.com/office/officeart/2016/7/layout/ChevronBlockProcess"/>
    <dgm:cxn modelId="{2012884E-F992-4B92-91F4-9F8BFDACB2E8}" type="presOf" srcId="{2C5379E6-0975-43CC-890E-D7B545DD7FE9}" destId="{6CD2BAB4-7057-4141-BFD2-E3E6CF45C8F7}" srcOrd="0" destOrd="0" presId="urn:microsoft.com/office/officeart/2016/7/layout/ChevronBlockProcess"/>
    <dgm:cxn modelId="{32C41D56-9445-4492-894F-77C5D32C0502}" type="presOf" srcId="{40710F19-86F5-4633-B45B-5AE6C9B20D2F}" destId="{BF2BDE9C-6D42-497A-A532-A3D7F6B35DA8}" srcOrd="0" destOrd="3" presId="urn:microsoft.com/office/officeart/2016/7/layout/ChevronBlockProcess"/>
    <dgm:cxn modelId="{1C372059-CF4B-4479-A156-D83845502F1A}" type="presOf" srcId="{1CFE485A-DF06-4F9B-A777-A445D9F6A8F3}" destId="{77A7DF20-820E-455C-AD61-BD73884ED53D}" srcOrd="0" destOrd="2" presId="urn:microsoft.com/office/officeart/2016/7/layout/ChevronBlockProcess"/>
    <dgm:cxn modelId="{879FD55A-8DA3-423D-94E2-4EFED51C5F15}" type="presOf" srcId="{8950D927-5E9B-4D0B-B319-7AD53BA8D68C}" destId="{4DB4E3E4-82B6-49A6-BC0F-25232DFBA553}" srcOrd="0" destOrd="0" presId="urn:microsoft.com/office/officeart/2016/7/layout/ChevronBlockProcess"/>
    <dgm:cxn modelId="{336E9283-A8FA-4162-BC40-94903BE525E5}" type="presOf" srcId="{1BB4DAB3-6331-44A6-AB86-82ECC64C965B}" destId="{77A7DF20-820E-455C-AD61-BD73884ED53D}" srcOrd="0" destOrd="3" presId="urn:microsoft.com/office/officeart/2016/7/layout/ChevronBlockProcess"/>
    <dgm:cxn modelId="{C778F986-DD58-4B9A-998A-91C972B2DE69}" srcId="{8950D927-5E9B-4D0B-B319-7AD53BA8D68C}" destId="{0D549C2C-8A72-4CDA-8D89-B77E88199690}" srcOrd="0" destOrd="0" parTransId="{5AA63DE4-5A6C-431B-A381-38135BD97537}" sibTransId="{FE488810-C17C-4C4A-B0B7-6A2470CC58DD}"/>
    <dgm:cxn modelId="{DF395B8E-AD79-4DCE-850A-A4051367C54B}" srcId="{BCD55AB3-9711-47F1-9E6D-196C37BB5175}" destId="{2C5379E6-0975-43CC-890E-D7B545DD7FE9}" srcOrd="4" destOrd="0" parTransId="{6FFF98DE-C7BA-4ECF-97DD-AE904AFB3D58}" sibTransId="{5F211DC5-3C46-4340-8AD2-CAB81EF78831}"/>
    <dgm:cxn modelId="{F305E492-C7C4-4057-92D3-B8D514C8C2F0}" type="presOf" srcId="{E7FA56E1-AB6F-427C-BD40-69C6CE78E880}" destId="{77A7DF20-820E-455C-AD61-BD73884ED53D}" srcOrd="0" destOrd="0" presId="urn:microsoft.com/office/officeart/2016/7/layout/ChevronBlockProcess"/>
    <dgm:cxn modelId="{5FD07299-6C7B-4D35-B232-F04AD06271B8}" type="presOf" srcId="{7D0806BD-18DA-4E0C-B825-F363D31D876D}" destId="{BC1D45FF-7779-423F-A20F-3A236F800D5F}" srcOrd="0" destOrd="2" presId="urn:microsoft.com/office/officeart/2016/7/layout/ChevronBlockProcess"/>
    <dgm:cxn modelId="{4A33959A-BA2A-45CF-BC44-DD9B52E63D06}" srcId="{5A2DE52C-BE8B-4EB1-910A-0055F2A3C61E}" destId="{A926F582-F453-4019-8B8C-9AD36F25760D}" srcOrd="3" destOrd="0" parTransId="{54CFC184-8E31-449F-A404-86011F421FA1}" sibTransId="{C2C2FF4D-B267-46FA-AC07-D6D2A1855882}"/>
    <dgm:cxn modelId="{FFB528A0-2E23-4E93-8CF9-732339BE4954}" type="presOf" srcId="{0596707D-34D3-4751-A223-B126F6AB73AF}" destId="{77A7DF20-820E-455C-AD61-BD73884ED53D}" srcOrd="0" destOrd="1" presId="urn:microsoft.com/office/officeart/2016/7/layout/ChevronBlockProcess"/>
    <dgm:cxn modelId="{888F9CA4-639B-41B6-B33E-0301F0C63B6D}" type="presOf" srcId="{BCD55AB3-9711-47F1-9E6D-196C37BB5175}" destId="{D0D5B22E-35A3-4878-95C2-7AB50AF6D210}" srcOrd="0" destOrd="0" presId="urn:microsoft.com/office/officeart/2016/7/layout/ChevronBlockProcess"/>
    <dgm:cxn modelId="{97B3FAA7-4C4D-4B33-B575-88BE520C8563}" srcId="{BCD55AB3-9711-47F1-9E6D-196C37BB5175}" destId="{8950D927-5E9B-4D0B-B319-7AD53BA8D68C}" srcOrd="0" destOrd="0" parTransId="{546CA81D-D948-4555-BA2D-DC539AAB90A2}" sibTransId="{B4F8D002-4A06-4183-9387-AFD13CBDEA80}"/>
    <dgm:cxn modelId="{49131EB5-44A0-4C63-A201-3A48B5A50555}" type="presOf" srcId="{4D6F1A73-C1FB-4775-A960-B65CE19EBCD0}" destId="{BF2BDE9C-6D42-497A-A532-A3D7F6B35DA8}" srcOrd="0" destOrd="1" presId="urn:microsoft.com/office/officeart/2016/7/layout/ChevronBlockProcess"/>
    <dgm:cxn modelId="{6516B1B6-1AF9-4F44-B4EF-32276DE0EEA4}" type="presOf" srcId="{D93D4666-9FF6-4041-9E37-92B096F041B7}" destId="{BC1D45FF-7779-423F-A20F-3A236F800D5F}" srcOrd="0" destOrd="1" presId="urn:microsoft.com/office/officeart/2016/7/layout/ChevronBlockProcess"/>
    <dgm:cxn modelId="{25E103B9-2BE6-427B-BDD9-9F690FA3BB17}" type="presOf" srcId="{902C2252-7885-4A26-9D55-A34823D6BE9F}" destId="{6D780735-B4D9-4BC8-BF19-7ED2E7120E22}" srcOrd="0" destOrd="0" presId="urn:microsoft.com/office/officeart/2016/7/layout/ChevronBlockProcess"/>
    <dgm:cxn modelId="{A8BA9BCD-11E7-491E-B172-6ADB26442F65}" type="presOf" srcId="{0D549C2C-8A72-4CDA-8D89-B77E88199690}" destId="{D16B717B-7608-46C3-9DA6-E32AB4DD8334}" srcOrd="0" destOrd="0" presId="urn:microsoft.com/office/officeart/2016/7/layout/ChevronBlockProcess"/>
    <dgm:cxn modelId="{B091DCCE-617A-4C20-9299-9C6540013E2B}" srcId="{932A4818-2DA1-47C2-86F3-EBAEE71246E5}" destId="{A698E4C1-0D77-4FF8-B552-28DC63823BBA}" srcOrd="0" destOrd="0" parTransId="{EE320619-0208-441D-BFFF-B0FC8DF37E30}" sibTransId="{22F98988-AC52-4B29-8D70-25D94942FE71}"/>
    <dgm:cxn modelId="{D77CCCD7-5F87-4CF3-BA84-578246B56EAA}" type="presOf" srcId="{32A881EF-26D8-425D-AC02-05A845D69D17}" destId="{7E1C2A1B-A4D8-46F9-A6B2-D436E1858E8B}" srcOrd="0" destOrd="1" presId="urn:microsoft.com/office/officeart/2016/7/layout/ChevronBlockProcess"/>
    <dgm:cxn modelId="{961DB3DD-531A-443F-BC07-9BEB1967B824}" srcId="{BCD55AB3-9711-47F1-9E6D-196C37BB5175}" destId="{902C2252-7885-4A26-9D55-A34823D6BE9F}" srcOrd="2" destOrd="0" parTransId="{771D89C1-AFA5-4B98-8818-A55C044FDF8A}" sibTransId="{5A783DAB-B29D-4AA8-88B3-F7E5A79554C6}"/>
    <dgm:cxn modelId="{9CE55ADF-D592-4410-8F92-732B046FE6B1}" srcId="{2C5379E6-0975-43CC-890E-D7B545DD7FE9}" destId="{7D0806BD-18DA-4E0C-B825-F363D31D876D}" srcOrd="2" destOrd="0" parTransId="{FE3588B8-E0F3-4341-8498-2BBD7E1D783F}" sibTransId="{3F324144-CA22-4FCD-97B6-ACFE116AFE4E}"/>
    <dgm:cxn modelId="{274452F2-DD3B-4B4C-84FA-A3AE63375912}" srcId="{E7FA56E1-AB6F-427C-BD40-69C6CE78E880}" destId="{1CFE485A-DF06-4F9B-A777-A445D9F6A8F3}" srcOrd="1" destOrd="0" parTransId="{6F040143-6779-4F4F-AF67-9B049E35A6F7}" sibTransId="{EB11741E-0698-43E4-8C61-E345254C68CE}"/>
    <dgm:cxn modelId="{A46624F3-B9D3-4913-9F39-6ABBC906F2A6}" type="presOf" srcId="{C2D841B4-AD9E-4D4F-B298-275E8C1716D8}" destId="{7E1C2A1B-A4D8-46F9-A6B2-D436E1858E8B}" srcOrd="0" destOrd="3" presId="urn:microsoft.com/office/officeart/2016/7/layout/ChevronBlockProcess"/>
    <dgm:cxn modelId="{6A475FFA-97A9-4278-9A4F-39CA9CB165E4}" srcId="{BCD55AB3-9711-47F1-9E6D-196C37BB5175}" destId="{0D810391-3B3F-493A-B1A3-6153FB4FF5B5}" srcOrd="3" destOrd="0" parTransId="{B9D2DD1A-1F7A-4DA5-9C2C-181F5FECAD20}" sibTransId="{7BE1F944-FCB6-4685-98F1-AE218E3756EC}"/>
    <dgm:cxn modelId="{D80BDEFA-2714-4A51-A685-B61C9DD3135F}" srcId="{A698E4C1-0D77-4FF8-B552-28DC63823BBA}" destId="{4D6F1A73-C1FB-4775-A960-B65CE19EBCD0}" srcOrd="0" destOrd="0" parTransId="{2C89D432-1FB8-4429-904E-49AB22A65B6B}" sibTransId="{13DD152D-1B42-4ED9-855D-6CAB1655FC69}"/>
    <dgm:cxn modelId="{5C0343F5-2E1B-467C-81BA-A853DD97690D}" type="presParOf" srcId="{D0D5B22E-35A3-4878-95C2-7AB50AF6D210}" destId="{9F93E896-C6C0-48A7-9AC5-3E07D0AEA8E7}" srcOrd="0" destOrd="0" presId="urn:microsoft.com/office/officeart/2016/7/layout/ChevronBlockProcess"/>
    <dgm:cxn modelId="{3B5F042E-5F61-46C0-A420-8513D3D03E45}" type="presParOf" srcId="{9F93E896-C6C0-48A7-9AC5-3E07D0AEA8E7}" destId="{4DB4E3E4-82B6-49A6-BC0F-25232DFBA553}" srcOrd="0" destOrd="0" presId="urn:microsoft.com/office/officeart/2016/7/layout/ChevronBlockProcess"/>
    <dgm:cxn modelId="{72120620-09DE-4EEC-A70A-FE3A313BE266}" type="presParOf" srcId="{9F93E896-C6C0-48A7-9AC5-3E07D0AEA8E7}" destId="{D16B717B-7608-46C3-9DA6-E32AB4DD8334}" srcOrd="1" destOrd="0" presId="urn:microsoft.com/office/officeart/2016/7/layout/ChevronBlockProcess"/>
    <dgm:cxn modelId="{791DD06E-071D-465F-9681-25C91FD6567A}" type="presParOf" srcId="{D0D5B22E-35A3-4878-95C2-7AB50AF6D210}" destId="{F9FF7628-C2F2-432F-A01C-A640A9D66E71}" srcOrd="1" destOrd="0" presId="urn:microsoft.com/office/officeart/2016/7/layout/ChevronBlockProcess"/>
    <dgm:cxn modelId="{81DB58BF-B2E8-409A-9C90-D459C6C3BE5F}" type="presParOf" srcId="{D0D5B22E-35A3-4878-95C2-7AB50AF6D210}" destId="{4DF33988-0AAA-40D1-813A-EF35B6E7D422}" srcOrd="2" destOrd="0" presId="urn:microsoft.com/office/officeart/2016/7/layout/ChevronBlockProcess"/>
    <dgm:cxn modelId="{D591A5F7-E6D1-4925-8D76-5D6A0F13315E}" type="presParOf" srcId="{4DF33988-0AAA-40D1-813A-EF35B6E7D422}" destId="{A42E6BA1-F0C0-4222-8E75-23C43A4F61A5}" srcOrd="0" destOrd="0" presId="urn:microsoft.com/office/officeart/2016/7/layout/ChevronBlockProcess"/>
    <dgm:cxn modelId="{16C60A64-A187-4720-BD47-9D70AF181B5E}" type="presParOf" srcId="{4DF33988-0AAA-40D1-813A-EF35B6E7D422}" destId="{BF2BDE9C-6D42-497A-A532-A3D7F6B35DA8}" srcOrd="1" destOrd="0" presId="urn:microsoft.com/office/officeart/2016/7/layout/ChevronBlockProcess"/>
    <dgm:cxn modelId="{A4C33764-E2C5-4487-8A50-FF5DE604F3C3}" type="presParOf" srcId="{D0D5B22E-35A3-4878-95C2-7AB50AF6D210}" destId="{4C18EFAF-C1EC-450F-9689-897B2D23FB8D}" srcOrd="3" destOrd="0" presId="urn:microsoft.com/office/officeart/2016/7/layout/ChevronBlockProcess"/>
    <dgm:cxn modelId="{5EE686D1-7F62-4763-9224-5EBD413DE7B6}" type="presParOf" srcId="{D0D5B22E-35A3-4878-95C2-7AB50AF6D210}" destId="{4262B1C7-3073-4028-9BAF-C90FABC0FDA4}" srcOrd="4" destOrd="0" presId="urn:microsoft.com/office/officeart/2016/7/layout/ChevronBlockProcess"/>
    <dgm:cxn modelId="{5C7024DE-20BD-4E42-B590-FF2A571EA911}" type="presParOf" srcId="{4262B1C7-3073-4028-9BAF-C90FABC0FDA4}" destId="{6D780735-B4D9-4BC8-BF19-7ED2E7120E22}" srcOrd="0" destOrd="0" presId="urn:microsoft.com/office/officeart/2016/7/layout/ChevronBlockProcess"/>
    <dgm:cxn modelId="{DA43FA72-59AB-45F3-8077-B1844FC6367E}" type="presParOf" srcId="{4262B1C7-3073-4028-9BAF-C90FABC0FDA4}" destId="{77A7DF20-820E-455C-AD61-BD73884ED53D}" srcOrd="1" destOrd="0" presId="urn:microsoft.com/office/officeart/2016/7/layout/ChevronBlockProcess"/>
    <dgm:cxn modelId="{A5B3F4F3-FD95-4402-9610-4EC21B693ABE}" type="presParOf" srcId="{D0D5B22E-35A3-4878-95C2-7AB50AF6D210}" destId="{AF2E8B08-BDBD-4097-A8EB-5F41C9CAF78A}" srcOrd="5" destOrd="0" presId="urn:microsoft.com/office/officeart/2016/7/layout/ChevronBlockProcess"/>
    <dgm:cxn modelId="{6793CF8B-0BD7-4B46-AD14-AD8801DE5C66}" type="presParOf" srcId="{D0D5B22E-35A3-4878-95C2-7AB50AF6D210}" destId="{4F91F132-B6A5-45B7-A68D-5FB10D27C2E5}" srcOrd="6" destOrd="0" presId="urn:microsoft.com/office/officeart/2016/7/layout/ChevronBlockProcess"/>
    <dgm:cxn modelId="{6067DC16-021D-49FC-87C4-90108ED3253B}" type="presParOf" srcId="{4F91F132-B6A5-45B7-A68D-5FB10D27C2E5}" destId="{AD64BFAE-BC3E-415A-807C-826ADDB5A088}" srcOrd="0" destOrd="0" presId="urn:microsoft.com/office/officeart/2016/7/layout/ChevronBlockProcess"/>
    <dgm:cxn modelId="{AA9A1B65-EC82-4A34-AA6F-80C4F178ED4F}" type="presParOf" srcId="{4F91F132-B6A5-45B7-A68D-5FB10D27C2E5}" destId="{7E1C2A1B-A4D8-46F9-A6B2-D436E1858E8B}" srcOrd="1" destOrd="0" presId="urn:microsoft.com/office/officeart/2016/7/layout/ChevronBlockProcess"/>
    <dgm:cxn modelId="{6F81EA42-9DDD-4066-AD34-25A961BC5F2F}" type="presParOf" srcId="{D0D5B22E-35A3-4878-95C2-7AB50AF6D210}" destId="{2F71C321-F696-4544-9445-01B7BFDB706A}" srcOrd="7" destOrd="0" presId="urn:microsoft.com/office/officeart/2016/7/layout/ChevronBlockProcess"/>
    <dgm:cxn modelId="{19104BA6-4FFA-44A8-B581-6B1EC7822CDF}" type="presParOf" srcId="{D0D5B22E-35A3-4878-95C2-7AB50AF6D210}" destId="{6AF54C36-253D-42B0-AC10-B0ABA10A4D49}" srcOrd="8" destOrd="0" presId="urn:microsoft.com/office/officeart/2016/7/layout/ChevronBlockProcess"/>
    <dgm:cxn modelId="{BE819B4E-EF7A-462B-8F94-3A68F151F7F2}" type="presParOf" srcId="{6AF54C36-253D-42B0-AC10-B0ABA10A4D49}" destId="{6CD2BAB4-7057-4141-BFD2-E3E6CF45C8F7}" srcOrd="0" destOrd="0" presId="urn:microsoft.com/office/officeart/2016/7/layout/ChevronBlockProcess"/>
    <dgm:cxn modelId="{4A317058-4294-4877-944A-A318D572BE2E}" type="presParOf" srcId="{6AF54C36-253D-42B0-AC10-B0ABA10A4D49}" destId="{BC1D45FF-7779-423F-A20F-3A236F800D5F}" srcOrd="1" destOrd="0" presId="urn:microsoft.com/office/officeart/2016/7/layout/ChevronBlock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66DAC5-495D-4DB1-9F43-299BE1FFE047}">
      <dsp:nvSpPr>
        <dsp:cNvPr id="0" name=""/>
        <dsp:cNvSpPr/>
      </dsp:nvSpPr>
      <dsp:spPr>
        <a:xfrm>
          <a:off x="1118913" y="1584000"/>
          <a:ext cx="1098000" cy="109800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500957-9AE1-4161-B65F-BE15F65ED582}">
      <dsp:nvSpPr>
        <dsp:cNvPr id="0" name=""/>
        <dsp:cNvSpPr/>
      </dsp:nvSpPr>
      <dsp:spPr>
        <a:xfrm>
          <a:off x="1352913" y="1818000"/>
          <a:ext cx="630000" cy="630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27CD86-08B3-4FA5-BE32-9E3FD84E3627}">
      <dsp:nvSpPr>
        <dsp:cNvPr id="0" name=""/>
        <dsp:cNvSpPr/>
      </dsp:nvSpPr>
      <dsp:spPr>
        <a:xfrm>
          <a:off x="767913" y="3024000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>
              <a:solidFill>
                <a:schemeClr val="bg1"/>
              </a:solidFill>
            </a:rPr>
            <a:t>Discovery – how and what</a:t>
          </a:r>
          <a:endParaRPr lang="en-US" sz="1300" kern="1200">
            <a:solidFill>
              <a:schemeClr val="bg1"/>
            </a:solidFill>
          </a:endParaRPr>
        </a:p>
      </dsp:txBody>
      <dsp:txXfrm>
        <a:off x="767913" y="3024000"/>
        <a:ext cx="1800000" cy="720000"/>
      </dsp:txXfrm>
    </dsp:sp>
    <dsp:sp modelId="{7F7FC117-31B6-45E6-9192-EE4AF9F5B4AC}">
      <dsp:nvSpPr>
        <dsp:cNvPr id="0" name=""/>
        <dsp:cNvSpPr/>
      </dsp:nvSpPr>
      <dsp:spPr>
        <a:xfrm>
          <a:off x="3233914" y="1584000"/>
          <a:ext cx="1098000" cy="109800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9016C7-032E-465C-97E0-B96370DA26A0}">
      <dsp:nvSpPr>
        <dsp:cNvPr id="0" name=""/>
        <dsp:cNvSpPr/>
      </dsp:nvSpPr>
      <dsp:spPr>
        <a:xfrm>
          <a:off x="3467914" y="1818000"/>
          <a:ext cx="630000" cy="630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38DADC-B556-4A94-84FA-BA1E9A4AD227}">
      <dsp:nvSpPr>
        <dsp:cNvPr id="0" name=""/>
        <dsp:cNvSpPr/>
      </dsp:nvSpPr>
      <dsp:spPr>
        <a:xfrm>
          <a:off x="2882914" y="3024000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>
              <a:solidFill>
                <a:schemeClr val="bg1"/>
              </a:solidFill>
            </a:rPr>
            <a:t>Access Policy – authentication and authorisation</a:t>
          </a:r>
          <a:endParaRPr lang="en-US" sz="1300" kern="1200">
            <a:solidFill>
              <a:schemeClr val="bg1"/>
            </a:solidFill>
          </a:endParaRPr>
        </a:p>
      </dsp:txBody>
      <dsp:txXfrm>
        <a:off x="2882914" y="3024000"/>
        <a:ext cx="1800000" cy="720000"/>
      </dsp:txXfrm>
    </dsp:sp>
    <dsp:sp modelId="{39B8ACA1-7E36-46C4-B0A6-51780A37349C}">
      <dsp:nvSpPr>
        <dsp:cNvPr id="0" name=""/>
        <dsp:cNvSpPr/>
      </dsp:nvSpPr>
      <dsp:spPr>
        <a:xfrm>
          <a:off x="5348914" y="1584000"/>
          <a:ext cx="1098000" cy="109800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17CEFD-5BB8-4386-BD73-2832B0F609E7}">
      <dsp:nvSpPr>
        <dsp:cNvPr id="0" name=""/>
        <dsp:cNvSpPr/>
      </dsp:nvSpPr>
      <dsp:spPr>
        <a:xfrm>
          <a:off x="5582914" y="1818000"/>
          <a:ext cx="630000" cy="630000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C37335C-77E5-4AB2-AEC3-CAC816605CDC}">
      <dsp:nvSpPr>
        <dsp:cNvPr id="0" name=""/>
        <dsp:cNvSpPr/>
      </dsp:nvSpPr>
      <dsp:spPr>
        <a:xfrm>
          <a:off x="4997914" y="3024000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>
              <a:solidFill>
                <a:schemeClr val="bg1"/>
              </a:solidFill>
            </a:rPr>
            <a:t>Services offering</a:t>
          </a:r>
          <a:endParaRPr lang="en-US" sz="1300" kern="1200">
            <a:solidFill>
              <a:schemeClr val="bg1"/>
            </a:solidFill>
          </a:endParaRPr>
        </a:p>
      </dsp:txBody>
      <dsp:txXfrm>
        <a:off x="4997914" y="3024000"/>
        <a:ext cx="1800000" cy="720000"/>
      </dsp:txXfrm>
    </dsp:sp>
    <dsp:sp modelId="{A62EBD27-E3D1-4755-B6B6-A9DD2A563CCD}">
      <dsp:nvSpPr>
        <dsp:cNvPr id="0" name=""/>
        <dsp:cNvSpPr/>
      </dsp:nvSpPr>
      <dsp:spPr>
        <a:xfrm>
          <a:off x="7463914" y="1584000"/>
          <a:ext cx="1098000" cy="109800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6317F6-D6F9-40A2-9021-993339EC43C4}">
      <dsp:nvSpPr>
        <dsp:cNvPr id="0" name=""/>
        <dsp:cNvSpPr/>
      </dsp:nvSpPr>
      <dsp:spPr>
        <a:xfrm>
          <a:off x="7697914" y="1818000"/>
          <a:ext cx="630000" cy="630000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6B1043F-F488-4264-A5B6-7DFB527C2011}">
      <dsp:nvSpPr>
        <dsp:cNvPr id="0" name=""/>
        <dsp:cNvSpPr/>
      </dsp:nvSpPr>
      <dsp:spPr>
        <a:xfrm>
          <a:off x="7112914" y="3024000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>
              <a:solidFill>
                <a:schemeClr val="bg1"/>
              </a:solidFill>
            </a:rPr>
            <a:t>Evolution </a:t>
          </a:r>
          <a:endParaRPr lang="en-US" sz="1300" kern="1200">
            <a:solidFill>
              <a:schemeClr val="bg1"/>
            </a:solidFill>
          </a:endParaRPr>
        </a:p>
      </dsp:txBody>
      <dsp:txXfrm>
        <a:off x="7112914" y="3024000"/>
        <a:ext cx="1800000" cy="720000"/>
      </dsp:txXfrm>
    </dsp:sp>
    <dsp:sp modelId="{AD206AB6-2C48-43F8-8872-FD58D099B02A}">
      <dsp:nvSpPr>
        <dsp:cNvPr id="0" name=""/>
        <dsp:cNvSpPr/>
      </dsp:nvSpPr>
      <dsp:spPr>
        <a:xfrm>
          <a:off x="9578913" y="1584000"/>
          <a:ext cx="1098000" cy="1098000"/>
        </a:xfrm>
        <a:prstGeom prst="round2DiagRect">
          <a:avLst>
            <a:gd name="adj1" fmla="val 29727"/>
            <a:gd name="adj2" fmla="val 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4C1472-9097-4FB2-89DE-8241604917D1}">
      <dsp:nvSpPr>
        <dsp:cNvPr id="0" name=""/>
        <dsp:cNvSpPr/>
      </dsp:nvSpPr>
      <dsp:spPr>
        <a:xfrm>
          <a:off x="9812913" y="1818000"/>
          <a:ext cx="630000" cy="630000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1A2124-130E-454A-A012-27CD52B0FD41}">
      <dsp:nvSpPr>
        <dsp:cNvPr id="0" name=""/>
        <dsp:cNvSpPr/>
      </dsp:nvSpPr>
      <dsp:spPr>
        <a:xfrm>
          <a:off x="9227913" y="3024000"/>
          <a:ext cx="180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GB" sz="1300" kern="1200">
              <a:solidFill>
                <a:schemeClr val="bg1"/>
              </a:solidFill>
            </a:rPr>
            <a:t>What next </a:t>
          </a:r>
          <a:endParaRPr lang="en-US" sz="1300" kern="1200">
            <a:solidFill>
              <a:schemeClr val="bg1"/>
            </a:solidFill>
          </a:endParaRPr>
        </a:p>
      </dsp:txBody>
      <dsp:txXfrm>
        <a:off x="9227913" y="3024000"/>
        <a:ext cx="1800000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3E2975-6F73-4B1B-AA5F-8E13DE9F14C1}">
      <dsp:nvSpPr>
        <dsp:cNvPr id="0" name=""/>
        <dsp:cNvSpPr/>
      </dsp:nvSpPr>
      <dsp:spPr>
        <a:xfrm>
          <a:off x="2359165" y="2315"/>
          <a:ext cx="9436662" cy="101591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3097" tIns="258041" rIns="183097" bIns="258041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IMPROVE USER EXPERIENCE IN EO DATA ACCESS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Across-mission Data Access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State-of-the art technology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Systems federation</a:t>
          </a:r>
        </a:p>
      </dsp:txBody>
      <dsp:txXfrm>
        <a:off x="2359165" y="2315"/>
        <a:ext cx="9436662" cy="1015910"/>
      </dsp:txXfrm>
    </dsp:sp>
    <dsp:sp modelId="{17E48863-FE76-4043-B6A3-36780E8B4AE1}">
      <dsp:nvSpPr>
        <dsp:cNvPr id="0" name=""/>
        <dsp:cNvSpPr/>
      </dsp:nvSpPr>
      <dsp:spPr>
        <a:xfrm>
          <a:off x="0" y="2315"/>
          <a:ext cx="2359165" cy="101591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839" tIns="100349" rIns="124839" bIns="100349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IMPROVE</a:t>
          </a:r>
        </a:p>
      </dsp:txBody>
      <dsp:txXfrm>
        <a:off x="0" y="2315"/>
        <a:ext cx="2359165" cy="1015910"/>
      </dsp:txXfrm>
    </dsp:sp>
    <dsp:sp modelId="{9892E7C0-90BC-4A4F-AD45-3FC25D3377E9}">
      <dsp:nvSpPr>
        <dsp:cNvPr id="0" name=""/>
        <dsp:cNvSpPr/>
      </dsp:nvSpPr>
      <dsp:spPr>
        <a:xfrm>
          <a:off x="2359165" y="1079180"/>
          <a:ext cx="9436662" cy="101591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3097" tIns="258041" rIns="183097" bIns="258041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RAISE THE OFFER FOR USERS: FROM DATA TO WORKSPACE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R&amp;D-tailored tools and services 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Scalable and Secure environment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Effective User Management and User Support </a:t>
          </a:r>
        </a:p>
      </dsp:txBody>
      <dsp:txXfrm>
        <a:off x="2359165" y="1079180"/>
        <a:ext cx="9436662" cy="1015910"/>
      </dsp:txXfrm>
    </dsp:sp>
    <dsp:sp modelId="{97025708-ABA2-43ED-A0D1-8F20AAFE64BC}">
      <dsp:nvSpPr>
        <dsp:cNvPr id="0" name=""/>
        <dsp:cNvSpPr/>
      </dsp:nvSpPr>
      <dsp:spPr>
        <a:xfrm>
          <a:off x="0" y="1079180"/>
          <a:ext cx="2359165" cy="101591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839" tIns="100349" rIns="124839" bIns="100349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RAISE</a:t>
          </a:r>
        </a:p>
      </dsp:txBody>
      <dsp:txXfrm>
        <a:off x="0" y="1079180"/>
        <a:ext cx="2359165" cy="1015910"/>
      </dsp:txXfrm>
    </dsp:sp>
    <dsp:sp modelId="{F058C04C-D7F7-41E7-ABA7-2F938B949765}">
      <dsp:nvSpPr>
        <dsp:cNvPr id="0" name=""/>
        <dsp:cNvSpPr/>
      </dsp:nvSpPr>
      <dsp:spPr>
        <a:xfrm>
          <a:off x="2359165" y="2156044"/>
          <a:ext cx="9436662" cy="101591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3097" tIns="258041" rIns="183097" bIns="258041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POWER COLLABORATIVE R&amp;D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Configurable shared environments </a:t>
          </a:r>
        </a:p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50" kern="1200"/>
            <a:t>Focus on knowledge-sharing and community support</a:t>
          </a:r>
        </a:p>
      </dsp:txBody>
      <dsp:txXfrm>
        <a:off x="2359165" y="2156044"/>
        <a:ext cx="9436662" cy="1015910"/>
      </dsp:txXfrm>
    </dsp:sp>
    <dsp:sp modelId="{A423F3FE-71F7-48E1-B8BE-2D7B962EDD31}">
      <dsp:nvSpPr>
        <dsp:cNvPr id="0" name=""/>
        <dsp:cNvSpPr/>
      </dsp:nvSpPr>
      <dsp:spPr>
        <a:xfrm>
          <a:off x="0" y="2156044"/>
          <a:ext cx="2359165" cy="101591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839" tIns="100349" rIns="124839" bIns="100349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OWER</a:t>
          </a:r>
        </a:p>
      </dsp:txBody>
      <dsp:txXfrm>
        <a:off x="0" y="2156044"/>
        <a:ext cx="2359165" cy="1015910"/>
      </dsp:txXfrm>
    </dsp:sp>
    <dsp:sp modelId="{1FEB8353-3F11-472E-A21A-DAC06035FCF0}">
      <dsp:nvSpPr>
        <dsp:cNvPr id="0" name=""/>
        <dsp:cNvSpPr/>
      </dsp:nvSpPr>
      <dsp:spPr>
        <a:xfrm>
          <a:off x="2359165" y="3234728"/>
          <a:ext cx="9436662" cy="101591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3097" tIns="258041" rIns="183097" bIns="258041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EFFECTIVELY</a:t>
          </a:r>
          <a:r>
            <a:rPr lang="en-GB" sz="1400" b="1" kern="1200">
              <a:solidFill>
                <a:schemeClr val="bg1">
                  <a:lumMod val="50000"/>
                </a:schemeClr>
              </a:solidFill>
            </a:rPr>
            <a:t> </a:t>
          </a: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DDRESS INCREASING COMPLEXITY and OPERATIONAL CHALLENGES</a:t>
          </a:r>
          <a:endParaRPr lang="en-US" sz="1400" kern="120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cross-mission technical baseline </a:t>
          </a: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Building on existing industrial capabilities and consolidated practices</a:t>
          </a: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Focus on core value added activities </a:t>
          </a:r>
        </a:p>
      </dsp:txBody>
      <dsp:txXfrm>
        <a:off x="2359165" y="3234728"/>
        <a:ext cx="9436662" cy="1015910"/>
      </dsp:txXfrm>
    </dsp:sp>
    <dsp:sp modelId="{C34352FB-852F-4078-B77C-1308271B8517}">
      <dsp:nvSpPr>
        <dsp:cNvPr id="0" name=""/>
        <dsp:cNvSpPr/>
      </dsp:nvSpPr>
      <dsp:spPr>
        <a:xfrm>
          <a:off x="0" y="3232909"/>
          <a:ext cx="2359165" cy="101591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839" tIns="100349" rIns="124839" bIns="100349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US" sz="1600" kern="1200"/>
            <a:t>ADDRESS</a:t>
          </a:r>
        </a:p>
      </dsp:txBody>
      <dsp:txXfrm>
        <a:off x="0" y="3232909"/>
        <a:ext cx="2359165" cy="1015910"/>
      </dsp:txXfrm>
    </dsp:sp>
    <dsp:sp modelId="{A3EAB7A4-578B-4BF7-BFFF-80314D38BCB8}">
      <dsp:nvSpPr>
        <dsp:cNvPr id="0" name=""/>
        <dsp:cNvSpPr/>
      </dsp:nvSpPr>
      <dsp:spPr>
        <a:xfrm>
          <a:off x="2359165" y="4309774"/>
          <a:ext cx="9436662" cy="101591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3097" tIns="258041" rIns="183097" bIns="258041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40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FOSTER INTEGRATION WITH THE EO ECOSYSTEM</a:t>
          </a: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Optimised user journey</a:t>
          </a: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Exploiting service-level synergies </a:t>
          </a:r>
        </a:p>
        <a:p>
          <a:pPr marL="0" lvl="0" indent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050" kern="120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Arial" panose="020B0604020202020204"/>
              <a:ea typeface="+mn-ea"/>
              <a:cs typeface="+mn-cs"/>
            </a:rPr>
            <a:t>Access to wider user community</a:t>
          </a:r>
        </a:p>
      </dsp:txBody>
      <dsp:txXfrm>
        <a:off x="2359165" y="4309774"/>
        <a:ext cx="9436662" cy="1015910"/>
      </dsp:txXfrm>
    </dsp:sp>
    <dsp:sp modelId="{F1CF73E8-A83A-445A-B195-C9EB0F7E3E35}">
      <dsp:nvSpPr>
        <dsp:cNvPr id="0" name=""/>
        <dsp:cNvSpPr/>
      </dsp:nvSpPr>
      <dsp:spPr>
        <a:xfrm>
          <a:off x="0" y="4309774"/>
          <a:ext cx="2359165" cy="101591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4839" tIns="100349" rIns="124839" bIns="100349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en-GB" sz="1600" kern="1200">
              <a:solidFill>
                <a:prstClr val="white"/>
              </a:solidFill>
              <a:latin typeface="Arial" panose="020B0604020202020204"/>
              <a:ea typeface="+mn-ea"/>
              <a:cs typeface="+mn-cs"/>
            </a:rPr>
            <a:t>FOSTER</a:t>
          </a:r>
        </a:p>
      </dsp:txBody>
      <dsp:txXfrm>
        <a:off x="0" y="4309774"/>
        <a:ext cx="2359165" cy="10159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DB8232-585E-4916-AB18-5CDE7BD5163D}">
      <dsp:nvSpPr>
        <dsp:cNvPr id="0" name=""/>
        <dsp:cNvSpPr/>
      </dsp:nvSpPr>
      <dsp:spPr>
        <a:xfrm>
          <a:off x="1980671" y="325798"/>
          <a:ext cx="681855" cy="68185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F2CC25-799F-4018-ADB1-6569988E44CD}">
      <dsp:nvSpPr>
        <dsp:cNvPr id="0" name=""/>
        <dsp:cNvSpPr/>
      </dsp:nvSpPr>
      <dsp:spPr>
        <a:xfrm>
          <a:off x="1563982" y="1251677"/>
          <a:ext cx="1515234" cy="700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chemeClr val="bg1"/>
              </a:solidFill>
            </a:rPr>
            <a:t>Technical notes </a:t>
          </a:r>
          <a:r>
            <a:rPr lang="en-GB" sz="1400" kern="1200">
              <a:solidFill>
                <a:schemeClr val="bg1"/>
              </a:solidFill>
            </a:rPr>
            <a:t>reporting the result of the activity</a:t>
          </a:r>
          <a:endParaRPr lang="en-US" sz="1400" kern="1200">
            <a:solidFill>
              <a:schemeClr val="bg1"/>
            </a:solidFill>
          </a:endParaRPr>
        </a:p>
      </dsp:txBody>
      <dsp:txXfrm>
        <a:off x="1563982" y="1251677"/>
        <a:ext cx="1515234" cy="700795"/>
      </dsp:txXfrm>
    </dsp:sp>
    <dsp:sp modelId="{34DCF65F-FCA1-4B61-AAF5-F0DA31DB4E3F}">
      <dsp:nvSpPr>
        <dsp:cNvPr id="0" name=""/>
        <dsp:cNvSpPr/>
      </dsp:nvSpPr>
      <dsp:spPr>
        <a:xfrm>
          <a:off x="3761071" y="325798"/>
          <a:ext cx="681855" cy="68185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FCCBBA-5F2E-4408-8EF5-58E94A8F5572}">
      <dsp:nvSpPr>
        <dsp:cNvPr id="0" name=""/>
        <dsp:cNvSpPr/>
      </dsp:nvSpPr>
      <dsp:spPr>
        <a:xfrm>
          <a:off x="3344382" y="1251677"/>
          <a:ext cx="1515234" cy="700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chemeClr val="bg1"/>
              </a:solidFill>
            </a:rPr>
            <a:t>Requirements</a:t>
          </a:r>
          <a:r>
            <a:rPr lang="en-GB" sz="1400" kern="1200">
              <a:solidFill>
                <a:schemeClr val="bg1"/>
              </a:solidFill>
            </a:rPr>
            <a:t> for future procurements</a:t>
          </a:r>
          <a:endParaRPr lang="en-US" sz="1400" kern="1200">
            <a:solidFill>
              <a:schemeClr val="bg1"/>
            </a:solidFill>
          </a:endParaRPr>
        </a:p>
      </dsp:txBody>
      <dsp:txXfrm>
        <a:off x="3344382" y="1251677"/>
        <a:ext cx="1515234" cy="700795"/>
      </dsp:txXfrm>
    </dsp:sp>
    <dsp:sp modelId="{23EE67C6-340D-46E8-BDA7-4DDA217D71B1}">
      <dsp:nvSpPr>
        <dsp:cNvPr id="0" name=""/>
        <dsp:cNvSpPr/>
      </dsp:nvSpPr>
      <dsp:spPr>
        <a:xfrm>
          <a:off x="5541472" y="325798"/>
          <a:ext cx="681855" cy="68185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F3485-9A9B-4960-8E61-A2EE023BF5BD}">
      <dsp:nvSpPr>
        <dsp:cNvPr id="0" name=""/>
        <dsp:cNvSpPr/>
      </dsp:nvSpPr>
      <dsp:spPr>
        <a:xfrm>
          <a:off x="5124782" y="1251677"/>
          <a:ext cx="1515234" cy="700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chemeClr val="bg1"/>
              </a:solidFill>
            </a:rPr>
            <a:t>Guiding</a:t>
          </a:r>
          <a:r>
            <a:rPr lang="en-GB" sz="1400" kern="1200">
              <a:solidFill>
                <a:schemeClr val="bg1"/>
              </a:solidFill>
            </a:rPr>
            <a:t> the short time </a:t>
          </a:r>
          <a:r>
            <a:rPr lang="en-GB" sz="1400" b="1" kern="1200">
              <a:solidFill>
                <a:schemeClr val="bg1"/>
              </a:solidFill>
            </a:rPr>
            <a:t>evolution</a:t>
          </a:r>
          <a:r>
            <a:rPr lang="en-GB" sz="1400" kern="1200">
              <a:solidFill>
                <a:schemeClr val="bg1"/>
              </a:solidFill>
            </a:rPr>
            <a:t> of currently used elements (e.g. catalog)</a:t>
          </a:r>
          <a:endParaRPr lang="en-US" sz="1400" kern="1200">
            <a:solidFill>
              <a:schemeClr val="bg1"/>
            </a:solidFill>
          </a:endParaRPr>
        </a:p>
      </dsp:txBody>
      <dsp:txXfrm>
        <a:off x="5124782" y="1251677"/>
        <a:ext cx="1515234" cy="700795"/>
      </dsp:txXfrm>
    </dsp:sp>
    <dsp:sp modelId="{08082D22-F30D-4A63-8D3E-D4809A552C31}">
      <dsp:nvSpPr>
        <dsp:cNvPr id="0" name=""/>
        <dsp:cNvSpPr/>
      </dsp:nvSpPr>
      <dsp:spPr>
        <a:xfrm>
          <a:off x="7321872" y="325798"/>
          <a:ext cx="681855" cy="681855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46C395-1A8E-4452-A446-5892CF63AEBA}">
      <dsp:nvSpPr>
        <dsp:cNvPr id="0" name=""/>
        <dsp:cNvSpPr/>
      </dsp:nvSpPr>
      <dsp:spPr>
        <a:xfrm>
          <a:off x="6905183" y="1251677"/>
          <a:ext cx="1515234" cy="700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>
              <a:solidFill>
                <a:schemeClr val="bg1"/>
              </a:solidFill>
            </a:rPr>
            <a:t>Transfer to operation </a:t>
          </a:r>
          <a:r>
            <a:rPr lang="en-GB" sz="1400" kern="1200">
              <a:solidFill>
                <a:schemeClr val="bg1"/>
              </a:solidFill>
            </a:rPr>
            <a:t>of validated findings (quick wins)</a:t>
          </a:r>
          <a:endParaRPr lang="en-US" sz="1400" kern="1200">
            <a:solidFill>
              <a:schemeClr val="bg1"/>
            </a:solidFill>
          </a:endParaRPr>
        </a:p>
      </dsp:txBody>
      <dsp:txXfrm>
        <a:off x="6905183" y="1251677"/>
        <a:ext cx="1515234" cy="700795"/>
      </dsp:txXfrm>
    </dsp:sp>
    <dsp:sp modelId="{10D7C2B5-FFCA-419B-A6A4-D86DE11535EF}">
      <dsp:nvSpPr>
        <dsp:cNvPr id="0" name=""/>
        <dsp:cNvSpPr/>
      </dsp:nvSpPr>
      <dsp:spPr>
        <a:xfrm>
          <a:off x="9102273" y="325798"/>
          <a:ext cx="681855" cy="681855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D2F94D-C0CC-4F9C-B599-42A25199AD01}">
      <dsp:nvSpPr>
        <dsp:cNvPr id="0" name=""/>
        <dsp:cNvSpPr/>
      </dsp:nvSpPr>
      <dsp:spPr>
        <a:xfrm>
          <a:off x="8685583" y="1251677"/>
          <a:ext cx="1515234" cy="7007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solidFill>
                <a:schemeClr val="bg1"/>
              </a:solidFill>
            </a:rPr>
            <a:t>Awareness and </a:t>
          </a:r>
          <a:r>
            <a:rPr lang="en-GB" sz="1400" b="1" kern="1200">
              <a:solidFill>
                <a:schemeClr val="bg1"/>
              </a:solidFill>
            </a:rPr>
            <a:t>industrial fostering</a:t>
          </a:r>
          <a:endParaRPr lang="en-US" sz="1400" b="1" kern="1200">
            <a:solidFill>
              <a:schemeClr val="bg1"/>
            </a:solidFill>
          </a:endParaRPr>
        </a:p>
      </dsp:txBody>
      <dsp:txXfrm>
        <a:off x="8685583" y="1251677"/>
        <a:ext cx="1515234" cy="70079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ADB8232-585E-4916-AB18-5CDE7BD5163D}">
      <dsp:nvSpPr>
        <dsp:cNvPr id="0" name=""/>
        <dsp:cNvSpPr/>
      </dsp:nvSpPr>
      <dsp:spPr>
        <a:xfrm>
          <a:off x="879226" y="348097"/>
          <a:ext cx="711914" cy="711914"/>
        </a:xfrm>
        <a:prstGeom prst="rect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2F2CC25-799F-4018-ADB1-6569988E44CD}">
      <dsp:nvSpPr>
        <dsp:cNvPr id="0" name=""/>
        <dsp:cNvSpPr/>
      </dsp:nvSpPr>
      <dsp:spPr>
        <a:xfrm>
          <a:off x="444167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>
              <a:solidFill>
                <a:schemeClr val="bg1"/>
              </a:solidFill>
            </a:rPr>
            <a:t>Direct involvement of </a:t>
          </a:r>
          <a:r>
            <a:rPr lang="en-GB" sz="1400" b="1" kern="1200">
              <a:solidFill>
                <a:schemeClr val="bg1"/>
              </a:solidFill>
            </a:rPr>
            <a:t>industrial expertise</a:t>
          </a:r>
          <a:endParaRPr lang="en-US" sz="1400" b="1" kern="1200">
            <a:solidFill>
              <a:schemeClr val="bg1"/>
            </a:solidFill>
          </a:endParaRPr>
        </a:p>
      </dsp:txBody>
      <dsp:txXfrm>
        <a:off x="444167" y="1297361"/>
        <a:ext cx="1582031" cy="632812"/>
      </dsp:txXfrm>
    </dsp:sp>
    <dsp:sp modelId="{4CA90EED-1BCA-4074-9ED9-25C190BA3F25}">
      <dsp:nvSpPr>
        <dsp:cNvPr id="0" name=""/>
        <dsp:cNvSpPr/>
      </dsp:nvSpPr>
      <dsp:spPr>
        <a:xfrm>
          <a:off x="2738112" y="348097"/>
          <a:ext cx="711914" cy="71191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4BE080-B97E-40DE-93CB-66EBE9D6CA00}">
      <dsp:nvSpPr>
        <dsp:cNvPr id="0" name=""/>
        <dsp:cNvSpPr/>
      </dsp:nvSpPr>
      <dsp:spPr>
        <a:xfrm>
          <a:off x="2303054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De-risk </a:t>
          </a:r>
          <a:r>
            <a:rPr lang="en-US" sz="1400" b="0" kern="1200">
              <a:solidFill>
                <a:schemeClr val="bg1"/>
              </a:solidFill>
            </a:rPr>
            <a:t>uncertain solutions</a:t>
          </a:r>
        </a:p>
      </dsp:txBody>
      <dsp:txXfrm>
        <a:off x="2303054" y="1297361"/>
        <a:ext cx="1582031" cy="632812"/>
      </dsp:txXfrm>
    </dsp:sp>
    <dsp:sp modelId="{58D5C81F-59BD-407F-80CF-52E124A8E0DC}">
      <dsp:nvSpPr>
        <dsp:cNvPr id="0" name=""/>
        <dsp:cNvSpPr/>
      </dsp:nvSpPr>
      <dsp:spPr>
        <a:xfrm>
          <a:off x="4596999" y="348097"/>
          <a:ext cx="711914" cy="71191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DD4960-5A59-4E4B-9293-A0451C4AF404}">
      <dsp:nvSpPr>
        <dsp:cNvPr id="0" name=""/>
        <dsp:cNvSpPr/>
      </dsp:nvSpPr>
      <dsp:spPr>
        <a:xfrm>
          <a:off x="4161941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0" kern="1200">
              <a:solidFill>
                <a:schemeClr val="bg1"/>
              </a:solidFill>
            </a:rPr>
            <a:t>Address</a:t>
          </a:r>
          <a:r>
            <a:rPr lang="en-GB" sz="1400" b="1" kern="1200">
              <a:solidFill>
                <a:schemeClr val="bg1"/>
              </a:solidFill>
            </a:rPr>
            <a:t> unconsolidated requirements</a:t>
          </a:r>
          <a:endParaRPr lang="en-US" sz="1400" kern="1200">
            <a:solidFill>
              <a:schemeClr val="bg1"/>
            </a:solidFill>
          </a:endParaRPr>
        </a:p>
      </dsp:txBody>
      <dsp:txXfrm>
        <a:off x="4161941" y="1297361"/>
        <a:ext cx="1582031" cy="632812"/>
      </dsp:txXfrm>
    </dsp:sp>
    <dsp:sp modelId="{34DCF65F-FCA1-4B61-AAF5-F0DA31DB4E3F}">
      <dsp:nvSpPr>
        <dsp:cNvPr id="0" name=""/>
        <dsp:cNvSpPr/>
      </dsp:nvSpPr>
      <dsp:spPr>
        <a:xfrm>
          <a:off x="6455886" y="348097"/>
          <a:ext cx="711914" cy="711914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FCCBBA-5F2E-4408-8EF5-58E94A8F5572}">
      <dsp:nvSpPr>
        <dsp:cNvPr id="0" name=""/>
        <dsp:cNvSpPr/>
      </dsp:nvSpPr>
      <dsp:spPr>
        <a:xfrm>
          <a:off x="6020827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Proof of concept </a:t>
          </a:r>
          <a:r>
            <a:rPr lang="en-US" sz="1400" b="0" kern="1200">
              <a:solidFill>
                <a:schemeClr val="bg1"/>
              </a:solidFill>
            </a:rPr>
            <a:t>applied</a:t>
          </a:r>
          <a:r>
            <a:rPr lang="en-US" sz="1400" b="1" kern="1200">
              <a:solidFill>
                <a:schemeClr val="bg1"/>
              </a:solidFill>
            </a:rPr>
            <a:t> </a:t>
          </a:r>
          <a:r>
            <a:rPr lang="en-US" sz="1400" b="0" kern="1200">
              <a:solidFill>
                <a:schemeClr val="bg1"/>
              </a:solidFill>
            </a:rPr>
            <a:t>to</a:t>
          </a:r>
          <a:r>
            <a:rPr lang="en-US" sz="1400" kern="1200">
              <a:solidFill>
                <a:schemeClr val="bg1"/>
              </a:solidFill>
            </a:rPr>
            <a:t> real use cases</a:t>
          </a:r>
        </a:p>
      </dsp:txBody>
      <dsp:txXfrm>
        <a:off x="6020827" y="1297361"/>
        <a:ext cx="1582031" cy="632812"/>
      </dsp:txXfrm>
    </dsp:sp>
    <dsp:sp modelId="{23EE67C6-340D-46E8-BDA7-4DDA217D71B1}">
      <dsp:nvSpPr>
        <dsp:cNvPr id="0" name=""/>
        <dsp:cNvSpPr/>
      </dsp:nvSpPr>
      <dsp:spPr>
        <a:xfrm>
          <a:off x="8314773" y="348097"/>
          <a:ext cx="711914" cy="711914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F3485-9A9B-4960-8E61-A2EE023BF5BD}">
      <dsp:nvSpPr>
        <dsp:cNvPr id="0" name=""/>
        <dsp:cNvSpPr/>
      </dsp:nvSpPr>
      <dsp:spPr>
        <a:xfrm>
          <a:off x="7879714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solidFill>
                <a:schemeClr val="bg1"/>
              </a:solidFill>
            </a:rPr>
            <a:t>Reduced formalism for </a:t>
          </a:r>
          <a:r>
            <a:rPr lang="en-US" sz="1400" b="1" kern="1200">
              <a:solidFill>
                <a:schemeClr val="bg1"/>
              </a:solidFill>
            </a:rPr>
            <a:t>fast outcome</a:t>
          </a:r>
        </a:p>
      </dsp:txBody>
      <dsp:txXfrm>
        <a:off x="7879714" y="1297361"/>
        <a:ext cx="1582031" cy="632812"/>
      </dsp:txXfrm>
    </dsp:sp>
    <dsp:sp modelId="{08082D22-F30D-4A63-8D3E-D4809A552C31}">
      <dsp:nvSpPr>
        <dsp:cNvPr id="0" name=""/>
        <dsp:cNvSpPr/>
      </dsp:nvSpPr>
      <dsp:spPr>
        <a:xfrm>
          <a:off x="10173659" y="348097"/>
          <a:ext cx="711914" cy="711914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846C395-1A8E-4452-A446-5892CF63AEBA}">
      <dsp:nvSpPr>
        <dsp:cNvPr id="0" name=""/>
        <dsp:cNvSpPr/>
      </dsp:nvSpPr>
      <dsp:spPr>
        <a:xfrm>
          <a:off x="9738601" y="1297361"/>
          <a:ext cx="1582031" cy="6328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chemeClr val="bg1"/>
              </a:solidFill>
            </a:rPr>
            <a:t>Anticipation of </a:t>
          </a:r>
          <a:r>
            <a:rPr lang="en-US" sz="1400" kern="1200">
              <a:solidFill>
                <a:schemeClr val="bg1"/>
              </a:solidFill>
            </a:rPr>
            <a:t>scientific community needs</a:t>
          </a:r>
        </a:p>
      </dsp:txBody>
      <dsp:txXfrm>
        <a:off x="9738601" y="1297361"/>
        <a:ext cx="1582031" cy="6328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B4E3E4-82B6-49A6-BC0F-25232DFBA553}">
      <dsp:nvSpPr>
        <dsp:cNvPr id="0" name=""/>
        <dsp:cNvSpPr/>
      </dsp:nvSpPr>
      <dsp:spPr>
        <a:xfrm>
          <a:off x="9933" y="435017"/>
          <a:ext cx="2395999" cy="718799"/>
        </a:xfrm>
        <a:prstGeom prst="chevron">
          <a:avLst>
            <a:gd name="adj" fmla="val 3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752" tIns="88752" rIns="88752" bIns="8875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Element 1</a:t>
          </a:r>
          <a:endParaRPr lang="en-US" sz="2800" kern="1200"/>
        </a:p>
      </dsp:txBody>
      <dsp:txXfrm>
        <a:off x="225573" y="435017"/>
        <a:ext cx="1964719" cy="718799"/>
      </dsp:txXfrm>
    </dsp:sp>
    <dsp:sp modelId="{D16B717B-7608-46C3-9DA6-E32AB4DD8334}">
      <dsp:nvSpPr>
        <dsp:cNvPr id="0" name=""/>
        <dsp:cNvSpPr/>
      </dsp:nvSpPr>
      <dsp:spPr>
        <a:xfrm>
          <a:off x="9933" y="1153817"/>
          <a:ext cx="2180359" cy="252778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2297" tIns="172297" rIns="172297" bIns="344594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Catalogue Interfaces (STAC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 conversion (COG, ZARR)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Metadata encoding (Geo-JSON)</a:t>
          </a:r>
          <a:endParaRPr lang="en-US" sz="1600" kern="1200"/>
        </a:p>
      </dsp:txBody>
      <dsp:txXfrm>
        <a:off x="9933" y="1153817"/>
        <a:ext cx="2180359" cy="2527780"/>
      </dsp:txXfrm>
    </dsp:sp>
    <dsp:sp modelId="{A42E6BA1-F0C0-4222-8E75-23C43A4F61A5}">
      <dsp:nvSpPr>
        <dsp:cNvPr id="0" name=""/>
        <dsp:cNvSpPr/>
      </dsp:nvSpPr>
      <dsp:spPr>
        <a:xfrm>
          <a:off x="2347167" y="435017"/>
          <a:ext cx="2395999" cy="718799"/>
        </a:xfrm>
        <a:prstGeom prst="chevron">
          <a:avLst>
            <a:gd name="adj" fmla="val 3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752" tIns="88752" rIns="88752" bIns="88752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>
              <a:latin typeface="Arial" panose="020B0604020202020204"/>
            </a:rPr>
            <a:t>Element 2</a:t>
          </a:r>
        </a:p>
      </dsp:txBody>
      <dsp:txXfrm>
        <a:off x="2562807" y="435017"/>
        <a:ext cx="1964719" cy="718799"/>
      </dsp:txXfrm>
    </dsp:sp>
    <dsp:sp modelId="{BF2BDE9C-6D42-497A-A532-A3D7F6B35DA8}">
      <dsp:nvSpPr>
        <dsp:cNvPr id="0" name=""/>
        <dsp:cNvSpPr/>
      </dsp:nvSpPr>
      <dsp:spPr>
        <a:xfrm>
          <a:off x="2347167" y="1153817"/>
          <a:ext cx="2180359" cy="252778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2297" tIns="172297" rIns="172297" bIns="344594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GB" sz="1600" kern="1200">
              <a:latin typeface="Arial" panose="020B0604020202020204"/>
            </a:rPr>
            <a:t>Data Access from archive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>
              <a:latin typeface="Arial" panose="020B0604020202020204"/>
            </a:rPr>
            <a:t>Ordering</a:t>
          </a:r>
          <a:endParaRPr lang="en-US" sz="1400" kern="1200">
            <a:latin typeface="Arial" panose="020B0604020202020204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>
              <a:latin typeface="Arial" panose="020B0604020202020204"/>
            </a:rPr>
            <a:t>Download</a:t>
          </a:r>
          <a:endParaRPr lang="en-US" sz="1400" kern="1200"/>
        </a:p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GB" sz="1600" kern="1200">
              <a:latin typeface="Arial" panose="020B0604020202020204"/>
            </a:rPr>
            <a:t>User authorisation (partial)</a:t>
          </a:r>
        </a:p>
      </dsp:txBody>
      <dsp:txXfrm>
        <a:off x="2347167" y="1153817"/>
        <a:ext cx="2180359" cy="2527780"/>
      </dsp:txXfrm>
    </dsp:sp>
    <dsp:sp modelId="{6D780735-B4D9-4BC8-BF19-7ED2E7120E22}">
      <dsp:nvSpPr>
        <dsp:cNvPr id="0" name=""/>
        <dsp:cNvSpPr/>
      </dsp:nvSpPr>
      <dsp:spPr>
        <a:xfrm>
          <a:off x="4684400" y="435017"/>
          <a:ext cx="2395999" cy="718799"/>
        </a:xfrm>
        <a:prstGeom prst="chevron">
          <a:avLst>
            <a:gd name="adj" fmla="val 3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752" tIns="88752" rIns="88752" bIns="8875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Element 3</a:t>
          </a:r>
          <a:endParaRPr lang="en-US" sz="2800" kern="1200"/>
        </a:p>
      </dsp:txBody>
      <dsp:txXfrm>
        <a:off x="4900040" y="435017"/>
        <a:ext cx="1964719" cy="718799"/>
      </dsp:txXfrm>
    </dsp:sp>
    <dsp:sp modelId="{77A7DF20-820E-455C-AD61-BD73884ED53D}">
      <dsp:nvSpPr>
        <dsp:cNvPr id="0" name=""/>
        <dsp:cNvSpPr/>
      </dsp:nvSpPr>
      <dsp:spPr>
        <a:xfrm>
          <a:off x="4684400" y="1153817"/>
          <a:ext cx="2180359" cy="252778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2297" tIns="172297" rIns="172297" bIns="344594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Data transfer</a:t>
          </a:r>
          <a:endParaRPr lang="en-US" sz="16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/>
            <a:t>PDGS to/from archive</a:t>
          </a:r>
          <a:r>
            <a:rPr lang="en-GB" sz="1400" kern="1200">
              <a:latin typeface="Arial" panose="020B0604020202020204"/>
            </a:rPr>
            <a:t>,</a:t>
          </a:r>
          <a:r>
            <a:rPr lang="en-GB" sz="1400" kern="1200"/>
            <a:t> </a:t>
          </a:r>
          <a:r>
            <a:rPr lang="en-GB" sz="1400" kern="1200" err="1">
              <a:latin typeface="Arial" panose="020B0604020202020204"/>
            </a:rPr>
            <a:t>catalog</a:t>
          </a:r>
          <a:r>
            <a:rPr lang="en-GB" sz="1400" kern="1200">
              <a:latin typeface="Arial" panose="020B0604020202020204"/>
            </a:rPr>
            <a:t> </a:t>
          </a:r>
          <a:r>
            <a:rPr lang="en-GB" sz="1400" kern="1200"/>
            <a:t>and </a:t>
          </a:r>
          <a:r>
            <a:rPr lang="en-GB" sz="1400" kern="1200">
              <a:latin typeface="Arial" panose="020B0604020202020204"/>
            </a:rPr>
            <a:t>dissemination</a:t>
          </a:r>
          <a:endParaRPr lang="en-US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400" kern="1200"/>
        </a:p>
      </dsp:txBody>
      <dsp:txXfrm>
        <a:off x="4684400" y="1153817"/>
        <a:ext cx="2180359" cy="2527780"/>
      </dsp:txXfrm>
    </dsp:sp>
    <dsp:sp modelId="{AD64BFAE-BC3E-415A-807C-826ADDB5A088}">
      <dsp:nvSpPr>
        <dsp:cNvPr id="0" name=""/>
        <dsp:cNvSpPr/>
      </dsp:nvSpPr>
      <dsp:spPr>
        <a:xfrm>
          <a:off x="7021633" y="435017"/>
          <a:ext cx="2395999" cy="718799"/>
        </a:xfrm>
        <a:prstGeom prst="chevron">
          <a:avLst>
            <a:gd name="adj" fmla="val 3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752" tIns="88752" rIns="88752" bIns="8875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Element 4</a:t>
          </a:r>
          <a:endParaRPr lang="en-US" sz="2800" kern="1200"/>
        </a:p>
      </dsp:txBody>
      <dsp:txXfrm>
        <a:off x="7237273" y="435017"/>
        <a:ext cx="1964719" cy="718799"/>
      </dsp:txXfrm>
    </dsp:sp>
    <dsp:sp modelId="{7E1C2A1B-A4D8-46F9-A6B2-D436E1858E8B}">
      <dsp:nvSpPr>
        <dsp:cNvPr id="0" name=""/>
        <dsp:cNvSpPr/>
      </dsp:nvSpPr>
      <dsp:spPr>
        <a:xfrm>
          <a:off x="7021633" y="1153817"/>
          <a:ext cx="2180359" cy="252778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2297" tIns="172297" rIns="172297" bIns="344594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Resource Viewer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/>
            <a:t>Improved User Experience</a:t>
          </a:r>
          <a:endParaRPr lang="en-US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/>
            <a:t>Data &amp; Service Discovery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400" kern="1200"/>
            <a:t>User login</a:t>
          </a: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400" kern="1200"/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GB" sz="1400" kern="1200"/>
        </a:p>
      </dsp:txBody>
      <dsp:txXfrm>
        <a:off x="7021633" y="1153817"/>
        <a:ext cx="2180359" cy="2527780"/>
      </dsp:txXfrm>
    </dsp:sp>
    <dsp:sp modelId="{6CD2BAB4-7057-4141-BFD2-E3E6CF45C8F7}">
      <dsp:nvSpPr>
        <dsp:cNvPr id="0" name=""/>
        <dsp:cNvSpPr/>
      </dsp:nvSpPr>
      <dsp:spPr>
        <a:xfrm>
          <a:off x="9358866" y="435017"/>
          <a:ext cx="2395999" cy="718799"/>
        </a:xfrm>
        <a:prstGeom prst="chevron">
          <a:avLst>
            <a:gd name="adj" fmla="val 3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8752" tIns="88752" rIns="88752" bIns="8875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/>
            <a:t>Element 5</a:t>
          </a:r>
          <a:endParaRPr lang="en-US" sz="2800" kern="1200"/>
        </a:p>
      </dsp:txBody>
      <dsp:txXfrm>
        <a:off x="9574506" y="435017"/>
        <a:ext cx="1964719" cy="718799"/>
      </dsp:txXfrm>
    </dsp:sp>
    <dsp:sp modelId="{BC1D45FF-7779-423F-A20F-3A236F800D5F}">
      <dsp:nvSpPr>
        <dsp:cNvPr id="0" name=""/>
        <dsp:cNvSpPr/>
      </dsp:nvSpPr>
      <dsp:spPr>
        <a:xfrm>
          <a:off x="9358866" y="1153817"/>
          <a:ext cx="2180359" cy="2527780"/>
        </a:xfrm>
        <a:prstGeom prst="rect">
          <a:avLst/>
        </a:prstGeom>
        <a:solidFill>
          <a:schemeClr val="accent3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72297" tIns="172297" rIns="172297" bIns="344594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User Management (incl. policy)</a:t>
          </a:r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Role based access</a:t>
          </a:r>
          <a:endParaRPr lang="en-US" sz="1600" kern="120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>
              <a:solidFill>
                <a:srgbClr val="003249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Data Access Authorisation</a:t>
          </a:r>
          <a:endParaRPr lang="en-US" sz="160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GB" sz="1600" kern="1200">
              <a:solidFill>
                <a:srgbClr val="003249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Access to resources 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1600" kern="1200"/>
            <a:t>Operator interface</a:t>
          </a:r>
          <a:endParaRPr lang="en-US" sz="1600"/>
        </a:p>
      </dsp:txBody>
      <dsp:txXfrm>
        <a:off x="9358866" y="1153817"/>
        <a:ext cx="2180359" cy="25277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5/layout/IconLeafLabelList">
  <dgm:title val="Icon Leaf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4"/>
          <dgm:constr type="h" for="des" forName="compNode" op="equ"/>
          <dgm:constr type="h" for="des" forName="textRect" op="equ"/>
        </dgm:constrLst>
      </dgm:if>
      <dgm:if name="Name5" axis="ch" ptType="node" func="cnt" op="lte" val="3">
        <dgm:constrLst>
          <dgm:constr type="h" for="ch" forName="compNode" refType="h" fact="0.4"/>
          <dgm:constr type="w" for="ch" forName="compNode" val="10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40"/>
          <dgm:constr type="h" for="des" forName="compNode" op="equ"/>
          <dgm:constr type="h" for="des" forName="textRect" op="equ"/>
        </dgm:constrLst>
      </dgm:if>
      <dgm:if name="Name6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2"/>
          <dgm:constr type="h" for="des" forName="compNode" op="equ"/>
          <dgm:constr type="h" for="des" forName="textRect" op="equ"/>
        </dgm:constrLst>
      </dgm:if>
      <dgm:else name="Name7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BgRect" refType="w" fact="0.61"/>
          <dgm:constr type="h" for="ch" forName="iconBgRect" refType="w" refFor="ch" refForName="iconBgRect"/>
          <dgm:constr type="t" for="ch" forName="iconBgRect"/>
          <dgm:constr type="ctrX" for="ch" forName="iconBgRect" refType="w" fact="0.5"/>
          <dgm:constr type="w" for="ch" forName="iconRect" refType="w" fact="0.35"/>
          <dgm:constr type="h" for="ch" forName="iconRect" refType="w" refFor="ch" refForName="iconRect"/>
          <dgm:constr type="ctrX" for="ch" forName="iconRect" refType="ctrX" refFor="ch" refForName="iconBgRect"/>
          <dgm:constr type="ctrY" for="ch" forName="iconRect" refType="ctrY" refFor="ch" refForName="iconBgRect"/>
          <dgm:constr type="h" for="ch" forName="spaceRect" refType="w" fact="0.19"/>
          <dgm:constr type="w" for="ch" forName="spaceRect" refType="w"/>
          <dgm:constr type="l" for="ch" forName="spaceRect"/>
          <dgm:constr type="t" for="ch" forName="spaceRect" refType="b" refFor="ch" refForName="iconBg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BgRect" styleLbl="bgShp">
          <dgm:alg type="sp"/>
          <dgm:shape xmlns:r="http://schemas.openxmlformats.org/officeDocument/2006/relationships" type="round2DiagRect" r:blip="">
            <dgm:adjLst/>
            <dgm:extLst>
              <a:ext uri="{B698B0E9-8C71-41B9-8309-B3DCBF30829C}">
                <dgm1612:spPr xmlns:dgm1612="http://schemas.microsoft.com/office/drawing/2016/12/diagram">
                  <a:prstGeom prst="round2DiagRect">
                    <a:avLst>
                      <a:gd name="adj1" fmla="val 29727"/>
                      <a:gd name="adj2" fmla="val 0"/>
                    </a:avLst>
                  </a:prstGeom>
                </dgm1612:spPr>
              </a:ext>
            </dgm:ext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9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cap="all"/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6/7/layout/ChevronBlockProcess">
  <dgm:title val="Chevron Block Process"/>
  <dgm:desc val="Use to show a progression; a timeline; sequential steps in a task, process, or workflow; or to emphasize movement or direction. Level 1 text appears inside an arrow shape while Level 2 text appears below the arrow shapes."/>
  <dgm:catLst>
    <dgm:cat type="process" pri="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 fact="0.6"/>
      <dgm:constr type="h" for="des" forName="composite" op="equ"/>
      <dgm:constr type="w" for="ch" forName="composite" refType="w"/>
      <dgm:constr type="w" for="des" forName="parTx"/>
      <dgm:constr type="h" for="des" forName="parTx" op="equ"/>
      <dgm:constr type="w" for="des" forName="desTx"/>
      <dgm:constr type="primFontSz" for="des" forName="parTx" val="28"/>
      <dgm:constr type="primFontSz" for="des" forName="desTx" refType="primFontSz" refFor="des" refForName="parTx" op="lte" fact="0.75"/>
      <dgm:constr type="h" for="des" forName="desTx" op="equ"/>
      <dgm:constr type="w" for="ch" forName="space" refType="w" op="equ" fact="-0.005"/>
    </dgm:constrLst>
    <dgm:ruleLst>
      <dgm:rule type="w" for="ch" forName="composite" val="0" fact="NaN" max="NaN"/>
    </dgm:ruleLst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7">
          <dgm:if name="Name8" func="var" arg="dir" op="equ" val="norm">
            <dgm:constrLst>
              <dgm:constr type="l" for="ch" forName="parTx"/>
              <dgm:constr type="w" for="ch" forName="parTx" refType="w"/>
              <dgm:constr type="t" for="ch" forName="parTx"/>
              <dgm:constr type="l" for="ch" forName="desTx"/>
              <dgm:constr type="w" for="ch" forName="desTx" refType="w" refFor="ch" refForName="parTx" fact="0.91"/>
              <dgm:constr type="t" for="ch" forName="desTx" refType="h" refFor="ch" refForName="parTx"/>
            </dgm:constrLst>
          </dgm:if>
          <dgm:else name="Name9">
            <dgm:constrLst>
              <dgm:constr type="l" for="ch" forName="parTx"/>
              <dgm:constr type="w" for="ch" forName="parTx" refType="w"/>
              <dgm:constr type="t" for="ch" forName="parTx"/>
              <dgm:constr type="l" for="ch" forName="desTx" refType="w" fact="0.09"/>
              <dgm:constr type="w" for="ch" forName="desTx" refType="w" refFor="ch" refForName="parTx" fact="0.91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 styleLbl="alignNode1">
          <dgm:varLst>
            <dgm:chMax val="0"/>
            <dgm:chPref val="0"/>
          </dgm:varLst>
          <dgm:alg type="tx"/>
          <dgm:choose name="Name10">
            <dgm:if name="Name11" func="var" arg="dir" op="equ" val="norm">
              <dgm:shape xmlns:r="http://schemas.openxmlformats.org/officeDocument/2006/relationships" type="chevron" r:blip="">
                <dgm:adjLst>
                  <dgm:adj idx="1" val="0.3"/>
                </dgm:adjLst>
              </dgm:shape>
            </dgm:if>
            <dgm:else name="Name12">
              <dgm:shape xmlns:r="http://schemas.openxmlformats.org/officeDocument/2006/relationships" rot="180" type="chevron" r:blip="">
                <dgm:adjLst/>
              </dgm:shape>
            </dgm:else>
          </dgm:choose>
          <dgm:presOf axis="self" ptType="node"/>
          <dgm:choose name="Name13">
            <dgm:if name="Name14" func="var" arg="dir" op="equ" val="norm">
              <dgm:constrLst>
                <dgm:constr type="h" refType="w" op="lte" fact="0.3"/>
                <dgm:constr type="h"/>
                <dgm:constr type="tMarg" refType="w" fact="0.105"/>
                <dgm:constr type="bMarg" refType="w" fact="0.105"/>
                <dgm:constr type="lMarg" refType="w" fact="0.105"/>
                <dgm:constr type="rMarg" refType="w" fact="0.105"/>
              </dgm:constrLst>
            </dgm:if>
            <dgm:else name="Name15">
              <dgm:constrLst>
                <dgm:constr type="h" refType="w" op="lte" fact="0.3"/>
                <dgm:constr type="h"/>
                <dgm:constr type="tMarg" refType="w" fact="0.105"/>
                <dgm:constr type="bMarg" refType="w" fact="0.105"/>
                <dgm:constr type="lMarg" refType="w" fact="0.105"/>
                <dgm:constr type="rMarg" refType="w" fact="0.105"/>
              </dgm:constrLst>
            </dgm:else>
          </dgm:choose>
          <dgm:ruleLst>
            <dgm:rule type="h" val="INF" fact="NaN" max="NaN"/>
            <dgm:rule type="primFontSz" val="14" fact="NaN" max="NaN"/>
          </dgm:ruleLst>
        </dgm:layoutNode>
        <dgm:layoutNode name="desTx" styleLbl="alignAccFollowNode1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primFontSz" val="20"/>
            <dgm:constr type="tMarg" refType="w" fact="0.224"/>
            <dgm:constr type="bMarg" refType="w" fact="0.448"/>
            <dgm:constr type="lMarg" refType="w" fact="0.224"/>
            <dgm:constr type="rMarg" refType="w" fact="0.224"/>
          </dgm:constrLst>
          <dgm:ruleLst>
            <dgm:rule type="h" val="INF" fact="NaN" max="NaN"/>
            <dgm:rule type="primFontSz" val="11" fact="NaN" max="NaN"/>
          </dgm:ruleLst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7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t" anchorCtr="0" compatLnSpc="1">
            <a:prstTxWarp prst="textNoShape">
              <a:avLst/>
            </a:prstTxWarp>
          </a:bodyPr>
          <a:lstStyle>
            <a:lvl1pPr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8275" y="0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t" anchorCtr="0" compatLnSpc="1">
            <a:prstTxWarp prst="textNoShape">
              <a:avLst/>
            </a:prstTxWarp>
          </a:bodyPr>
          <a:lstStyle>
            <a:lvl1pPr algn="r"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42375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b" anchorCtr="0" compatLnSpc="1">
            <a:prstTxWarp prst="textNoShape">
              <a:avLst/>
            </a:prstTxWarp>
          </a:bodyPr>
          <a:lstStyle>
            <a:lvl1pPr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287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8275" y="8842375"/>
            <a:ext cx="3043238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04" tIns="44702" rIns="89404" bIns="44702" numCol="1" anchor="b" anchorCtr="0" compatLnSpc="1">
            <a:prstTxWarp prst="textNoShape">
              <a:avLst/>
            </a:prstTxWarp>
          </a:bodyPr>
          <a:lstStyle>
            <a:lvl1pPr algn="r" defTabSz="892175">
              <a:defRPr sz="1100" smtClean="0">
                <a:latin typeface="Arial" pitchFamily="34" charset="0"/>
              </a:defRPr>
            </a:lvl1pPr>
          </a:lstStyle>
          <a:p>
            <a:pPr>
              <a:defRPr/>
            </a:pPr>
            <a:fld id="{A5B780D0-5C7F-422C-931C-25201BE19360}" type="slidenum">
              <a:rPr lang="it-IT"/>
              <a:pPr>
                <a:defRPr/>
              </a:pPr>
              <a:t>‹#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25045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466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>
            <a:lvl1pPr defTabSz="862013"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83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5738" y="0"/>
            <a:ext cx="301466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>
            <a:lvl1pPr algn="r" defTabSz="862013">
              <a:defRPr sz="1100" smtClean="0"/>
            </a:lvl1pPr>
          </a:lstStyle>
          <a:p>
            <a:pPr>
              <a:defRPr/>
            </a:pPr>
            <a:fld id="{A6888345-B3D3-4351-A7A9-F936F5935E41}" type="datetimeFigureOut">
              <a:rPr lang="en-US"/>
              <a:pPr>
                <a:defRPr/>
              </a:pPr>
              <a:t>10/25/2023</a:t>
            </a:fld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693738"/>
            <a:ext cx="6176963" cy="3465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435475"/>
            <a:ext cx="5200650" cy="415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83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70950"/>
            <a:ext cx="3014663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b" anchorCtr="0" compatLnSpc="1">
            <a:prstTxWarp prst="textNoShape">
              <a:avLst/>
            </a:prstTxWarp>
          </a:bodyPr>
          <a:lstStyle>
            <a:lvl1pPr defTabSz="862013">
              <a:defRPr sz="11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83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5738" y="8870950"/>
            <a:ext cx="301466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6155" tIns="43077" rIns="86155" bIns="43077" numCol="1" anchor="b" anchorCtr="0" compatLnSpc="1">
            <a:prstTxWarp prst="textNoShape">
              <a:avLst/>
            </a:prstTxWarp>
          </a:bodyPr>
          <a:lstStyle>
            <a:lvl1pPr algn="r" defTabSz="862013">
              <a:defRPr sz="1100" smtClean="0"/>
            </a:lvl1pPr>
          </a:lstStyle>
          <a:p>
            <a:pPr>
              <a:defRPr/>
            </a:pPr>
            <a:fld id="{D8DF57D7-2670-4E78-96DD-D9B2280512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4303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610636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1221273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831909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2442545" algn="l" rtl="0" fontAlgn="base">
      <a:spcBef>
        <a:spcPct val="30000"/>
      </a:spcBef>
      <a:spcAft>
        <a:spcPct val="0"/>
      </a:spcAft>
      <a:defRPr sz="1603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3053182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6pPr>
    <a:lvl7pPr marL="3663818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7pPr>
    <a:lvl8pPr marL="4274454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8pPr>
    <a:lvl9pPr marL="4885091" algn="l" defTabSz="1221273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4025" y="693738"/>
            <a:ext cx="6176963" cy="3465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512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518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636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827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8DF57D7-2670-4E78-96DD-D9B2280512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rPr>
              <a:pPr marL="0" marR="0" lvl="0" indent="0" algn="r" defTabSz="8827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560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5980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2707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B9C825-F38E-45BB-92C1-043DE61C9183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2133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cess the collaborative environment from a Web Portal integrated with </a:t>
            </a:r>
            <a:r>
              <a:rPr lang="en-GB" sz="1800" err="1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arthOnline</a:t>
            </a: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Web Services for a one-stop-shop solution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asily access a variety of EO data (based on federated data access principles) in a format which is suitable for cloud processing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asily access a database of available algorithms/processors for further manipulation and re-use 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Use (and release as necessary) scalable computing and storage resources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Work in a processing environment mirroring the features of the EO Ground Segment operational environment and offering large scale orchestrators for automatic processing as well as tools/libraries for assisted processing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ublish newly generated algorithms/processors and expose them to the user community in a fully configurable way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Activate collaborative environment functionalities (including access to specialists forum and helpdesk) in a fully configurable way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 algn="just">
              <a:buFont typeface="Symbol" panose="05050102010706020507" pitchFamily="18" charset="2"/>
              <a:buChar char=""/>
            </a:pPr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Enjoy a safe processing environment where users are managed, protected and supported as needed 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GB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o as to minimize delta development and integration efforts when deploying “new” processors in the operational environment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en-US" sz="180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Through adequate security services</a:t>
            </a:r>
            <a:endParaRPr lang="en-GB" sz="180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91763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DF57D7-2670-4E78-96DD-D9B22805124F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484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69">
            <a:extLst>
              <a:ext uri="{FF2B5EF4-FFF2-40B4-BE49-F238E27FC236}">
                <a16:creationId xmlns:a16="http://schemas.microsoft.com/office/drawing/2014/main" id="{655A41B8-2864-44C4-A9B2-9F40A95F93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40" name="Rectangle 4">
            <a:extLst>
              <a:ext uri="{FF2B5EF4-FFF2-40B4-BE49-F238E27FC236}">
                <a16:creationId xmlns:a16="http://schemas.microsoft.com/office/drawing/2014/main" id="{13708B2C-83C9-4876-96B1-1CC09F31A163}"/>
              </a:ext>
            </a:extLst>
          </p:cNvPr>
          <p:cNvSpPr/>
          <p:nvPr userDrawn="1"/>
        </p:nvSpPr>
        <p:spPr>
          <a:xfrm>
            <a:off x="0" y="0"/>
            <a:ext cx="12225338" cy="6858000"/>
          </a:xfrm>
          <a:prstGeom prst="rect">
            <a:avLst/>
          </a:prstGeom>
          <a:solidFill>
            <a:srgbClr val="003249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361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7704" y="3351588"/>
            <a:ext cx="11809731" cy="707886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13480" y="6202800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– For ESA Official Use Only</a:t>
            </a:r>
          </a:p>
        </p:txBody>
      </p: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36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7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90A106D-F82D-4A4A-81C2-51E2F76FBD9F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5">
            <a:extLst>
              <a:ext uri="{FF2B5EF4-FFF2-40B4-BE49-F238E27FC236}">
                <a16:creationId xmlns:a16="http://schemas.microsoft.com/office/drawing/2014/main" id="{F2382437-E20D-44CE-9678-6FC2D2C8FA21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9" y="6454954"/>
            <a:ext cx="9956800" cy="4051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10" grpId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5">
            <a:extLst>
              <a:ext uri="{FF2B5EF4-FFF2-40B4-BE49-F238E27FC236}">
                <a16:creationId xmlns:a16="http://schemas.microsoft.com/office/drawing/2014/main" id="{79B5329C-A2C5-4ECB-BC98-1EE910A59C5C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8" name="Rectangle 36" hidden="1">
              <a:extLst>
                <a:ext uri="{FF2B5EF4-FFF2-40B4-BE49-F238E27FC236}">
                  <a16:creationId xmlns:a16="http://schemas.microsoft.com/office/drawing/2014/main" id="{C8958B36-AB2D-48BD-9A47-6687DB792AE7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9" name="Group 37" hidden="1">
              <a:extLst>
                <a:ext uri="{FF2B5EF4-FFF2-40B4-BE49-F238E27FC236}">
                  <a16:creationId xmlns:a16="http://schemas.microsoft.com/office/drawing/2014/main" id="{430FC37E-46B5-4BD2-9E97-2B76C0573440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10" name="Straight Connector 38">
                <a:extLst>
                  <a:ext uri="{FF2B5EF4-FFF2-40B4-BE49-F238E27FC236}">
                    <a16:creationId xmlns:a16="http://schemas.microsoft.com/office/drawing/2014/main" id="{E63B12F6-68E5-4FD2-AE82-2C61E9FEC371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39">
                <a:extLst>
                  <a:ext uri="{FF2B5EF4-FFF2-40B4-BE49-F238E27FC236}">
                    <a16:creationId xmlns:a16="http://schemas.microsoft.com/office/drawing/2014/main" id="{3F18698A-2CC1-42F7-AFA2-0ED6A65A0467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0">
                <a:extLst>
                  <a:ext uri="{FF2B5EF4-FFF2-40B4-BE49-F238E27FC236}">
                    <a16:creationId xmlns:a16="http://schemas.microsoft.com/office/drawing/2014/main" id="{5A3E8D2A-FCB8-46D8-8E13-5DFD77E0857A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1">
                <a:extLst>
                  <a:ext uri="{FF2B5EF4-FFF2-40B4-BE49-F238E27FC236}">
                    <a16:creationId xmlns:a16="http://schemas.microsoft.com/office/drawing/2014/main" id="{2A1A5DCC-95B9-432D-9319-E61A83F71866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2">
                <a:extLst>
                  <a:ext uri="{FF2B5EF4-FFF2-40B4-BE49-F238E27FC236}">
                    <a16:creationId xmlns:a16="http://schemas.microsoft.com/office/drawing/2014/main" id="{B8820250-F9E0-4311-BF0C-802AF6875CAD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3">
                <a:extLst>
                  <a:ext uri="{FF2B5EF4-FFF2-40B4-BE49-F238E27FC236}">
                    <a16:creationId xmlns:a16="http://schemas.microsoft.com/office/drawing/2014/main" id="{388E2DD4-2471-4F2A-8590-D3A12C918E40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4">
                <a:extLst>
                  <a:ext uri="{FF2B5EF4-FFF2-40B4-BE49-F238E27FC236}">
                    <a16:creationId xmlns:a16="http://schemas.microsoft.com/office/drawing/2014/main" id="{93FCA856-D622-4D05-8EC1-5A1167A0E484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5">
                <a:extLst>
                  <a:ext uri="{FF2B5EF4-FFF2-40B4-BE49-F238E27FC236}">
                    <a16:creationId xmlns:a16="http://schemas.microsoft.com/office/drawing/2014/main" id="{920EE15C-2FE5-464B-9141-CB9BF0147888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6">
                <a:extLst>
                  <a:ext uri="{FF2B5EF4-FFF2-40B4-BE49-F238E27FC236}">
                    <a16:creationId xmlns:a16="http://schemas.microsoft.com/office/drawing/2014/main" id="{4B6CEFD2-1B8D-4244-B930-8D2849ED397B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7">
                <a:extLst>
                  <a:ext uri="{FF2B5EF4-FFF2-40B4-BE49-F238E27FC236}">
                    <a16:creationId xmlns:a16="http://schemas.microsoft.com/office/drawing/2014/main" id="{8A33E851-D6BA-438B-B03A-38CCF7C6E26B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48">
                <a:extLst>
                  <a:ext uri="{FF2B5EF4-FFF2-40B4-BE49-F238E27FC236}">
                    <a16:creationId xmlns:a16="http://schemas.microsoft.com/office/drawing/2014/main" id="{4A28DC0D-210E-4248-9128-A55D9A06369B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49">
                <a:extLst>
                  <a:ext uri="{FF2B5EF4-FFF2-40B4-BE49-F238E27FC236}">
                    <a16:creationId xmlns:a16="http://schemas.microsoft.com/office/drawing/2014/main" id="{1464FE7F-7592-47D7-8ADE-D22FEDEBFB3D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0">
                <a:extLst>
                  <a:ext uri="{FF2B5EF4-FFF2-40B4-BE49-F238E27FC236}">
                    <a16:creationId xmlns:a16="http://schemas.microsoft.com/office/drawing/2014/main" id="{B7EA4283-4EAA-4DD8-8791-6F9976FBC69B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1">
                <a:extLst>
                  <a:ext uri="{FF2B5EF4-FFF2-40B4-BE49-F238E27FC236}">
                    <a16:creationId xmlns:a16="http://schemas.microsoft.com/office/drawing/2014/main" id="{92F79F70-7C67-441A-BE5F-68EF88D42721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2">
                <a:extLst>
                  <a:ext uri="{FF2B5EF4-FFF2-40B4-BE49-F238E27FC236}">
                    <a16:creationId xmlns:a16="http://schemas.microsoft.com/office/drawing/2014/main" id="{235AD71C-D9EE-4E4E-81B5-BBAF4D8497D8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3">
                <a:extLst>
                  <a:ext uri="{FF2B5EF4-FFF2-40B4-BE49-F238E27FC236}">
                    <a16:creationId xmlns:a16="http://schemas.microsoft.com/office/drawing/2014/main" id="{F97E8D7C-177F-4679-88B2-B2A1A0F63008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4">
                <a:extLst>
                  <a:ext uri="{FF2B5EF4-FFF2-40B4-BE49-F238E27FC236}">
                    <a16:creationId xmlns:a16="http://schemas.microsoft.com/office/drawing/2014/main" id="{CCBF4EED-8DF1-4D4C-9233-2A5AED92FAF5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5">
                <a:extLst>
                  <a:ext uri="{FF2B5EF4-FFF2-40B4-BE49-F238E27FC236}">
                    <a16:creationId xmlns:a16="http://schemas.microsoft.com/office/drawing/2014/main" id="{FE781963-B521-4090-B33E-52BA0D08DD4D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6">
                <a:extLst>
                  <a:ext uri="{FF2B5EF4-FFF2-40B4-BE49-F238E27FC236}">
                    <a16:creationId xmlns:a16="http://schemas.microsoft.com/office/drawing/2014/main" id="{97A5F321-E5FD-4460-AB50-6E7982BCF2C1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7">
                <a:extLst>
                  <a:ext uri="{FF2B5EF4-FFF2-40B4-BE49-F238E27FC236}">
                    <a16:creationId xmlns:a16="http://schemas.microsoft.com/office/drawing/2014/main" id="{77249232-6F79-4387-A6B7-F3681620C2C6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58">
                <a:extLst>
                  <a:ext uri="{FF2B5EF4-FFF2-40B4-BE49-F238E27FC236}">
                    <a16:creationId xmlns:a16="http://schemas.microsoft.com/office/drawing/2014/main" id="{0B03DDF2-C067-4050-B9E3-973ACB79D110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59">
                <a:extLst>
                  <a:ext uri="{FF2B5EF4-FFF2-40B4-BE49-F238E27FC236}">
                    <a16:creationId xmlns:a16="http://schemas.microsoft.com/office/drawing/2014/main" id="{2CCD4EA8-14AB-4EF3-AA4F-068028B23FD9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60">
                <a:extLst>
                  <a:ext uri="{FF2B5EF4-FFF2-40B4-BE49-F238E27FC236}">
                    <a16:creationId xmlns:a16="http://schemas.microsoft.com/office/drawing/2014/main" id="{C8AD15C4-17A1-4D20-A30D-913A27934A98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61">
                <a:extLst>
                  <a:ext uri="{FF2B5EF4-FFF2-40B4-BE49-F238E27FC236}">
                    <a16:creationId xmlns:a16="http://schemas.microsoft.com/office/drawing/2014/main" id="{53B14BAE-6D30-487C-A35C-CEEAB0526FC6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4CC007AC-F8AF-47C6-A900-868B5879D7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6A3B02F-74FE-439F-AB2D-C6EF6331C16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218859" y="1674000"/>
            <a:ext cx="57888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BA924DC-7418-41D7-8688-B912996558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2800" y="1674000"/>
            <a:ext cx="5778000" cy="4316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474DA607-7660-4BC3-BE10-CE82F2344A79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08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1">
    <p:bg>
      <p:bgPr>
        <a:solidFill>
          <a:srgbClr val="335E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4F8E21D1-D3AB-467C-827A-60A3C231CE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EECD27-029B-4C0A-8414-E1DCA0759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D2C6DB2-558F-4C84-B5E0-4624E082FC4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9665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2">
    <p:bg>
      <p:bgPr>
        <a:solidFill>
          <a:srgbClr val="8197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454D428-23AE-4B01-BE91-F59947AAFD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536C13B-CB48-4EFE-B92B-E0DF778BBE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335E6F"/>
                </a:solidFill>
              </a:defRPr>
            </a:lvl1pPr>
            <a:lvl2pPr>
              <a:defRPr sz="1800">
                <a:solidFill>
                  <a:srgbClr val="335E6F"/>
                </a:solidFill>
              </a:defRPr>
            </a:lvl2pPr>
            <a:lvl3pPr>
              <a:defRPr sz="1800">
                <a:solidFill>
                  <a:srgbClr val="335E6F"/>
                </a:solidFill>
              </a:defRPr>
            </a:lvl3pPr>
            <a:lvl4pPr>
              <a:defRPr sz="1800">
                <a:solidFill>
                  <a:srgbClr val="335E6F"/>
                </a:solidFill>
              </a:defRPr>
            </a:lvl4pPr>
            <a:lvl5pPr>
              <a:defRPr sz="1800">
                <a:solidFill>
                  <a:srgbClr val="335E6F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39F78FA-F6D0-43E1-8D5E-F43274ADA42E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Box 34">
            <a:extLst>
              <a:ext uri="{FF2B5EF4-FFF2-40B4-BE49-F238E27FC236}">
                <a16:creationId xmlns:a16="http://schemas.microsoft.com/office/drawing/2014/main" id="{EAF7257E-F8F1-46E7-AB31-BEECBE9760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80525" y="6202800"/>
            <a:ext cx="27507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6093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3">
    <p:bg>
      <p:bgPr>
        <a:solidFill>
          <a:srgbClr val="008E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6AEE28F-8201-4291-B91D-87424F6B0F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6958D4-DB1F-4336-9FAC-F1310EA70D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76C8AE"/>
                </a:solidFill>
              </a:defRPr>
            </a:lvl1pPr>
            <a:lvl2pPr>
              <a:defRPr sz="1800">
                <a:solidFill>
                  <a:srgbClr val="76C8AE"/>
                </a:solidFill>
              </a:defRPr>
            </a:lvl2pPr>
            <a:lvl3pPr>
              <a:defRPr sz="1800">
                <a:solidFill>
                  <a:srgbClr val="76C8AE"/>
                </a:solidFill>
              </a:defRPr>
            </a:lvl3pPr>
            <a:lvl4pPr>
              <a:defRPr sz="1800">
                <a:solidFill>
                  <a:srgbClr val="76C8AE"/>
                </a:solidFill>
              </a:defRPr>
            </a:lvl4pPr>
            <a:lvl5pPr>
              <a:defRPr sz="1800">
                <a:solidFill>
                  <a:srgbClr val="76C8AE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4F35ECC-E470-43DD-98A9-B01624008E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607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4">
    <p:bg>
      <p:bgPr>
        <a:solidFill>
          <a:srgbClr val="96013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9134E1-D455-4C26-B381-3FC697018E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CBCA6-6806-4F98-BCC6-89DD1EF3B1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>
                <a:solidFill>
                  <a:srgbClr val="F1666A"/>
                </a:solidFill>
              </a:defRPr>
            </a:lvl1pPr>
            <a:lvl2pPr>
              <a:defRPr>
                <a:solidFill>
                  <a:srgbClr val="F1666A"/>
                </a:solidFill>
              </a:defRPr>
            </a:lvl2pPr>
            <a:lvl3pPr>
              <a:defRPr>
                <a:solidFill>
                  <a:srgbClr val="F1666A"/>
                </a:solidFill>
              </a:defRPr>
            </a:lvl3pPr>
            <a:lvl4pPr>
              <a:defRPr>
                <a:solidFill>
                  <a:srgbClr val="F1666A"/>
                </a:solidFill>
              </a:defRPr>
            </a:lvl4pPr>
            <a:lvl5pPr>
              <a:defRPr>
                <a:solidFill>
                  <a:srgbClr val="F1666A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B574315-B7CB-4D67-938B-343DBD8D47E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5557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5">
    <p:bg>
      <p:bgPr>
        <a:solidFill>
          <a:srgbClr val="F479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7E46C08-64B4-42D6-AF34-8AC1C34A0C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29B6CC-D6D4-4607-B2F0-95D88CF4864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FFCC4E"/>
                </a:solidFill>
              </a:defRPr>
            </a:lvl1pPr>
            <a:lvl2pPr>
              <a:defRPr sz="1800">
                <a:solidFill>
                  <a:srgbClr val="FFCC4E"/>
                </a:solidFill>
              </a:defRPr>
            </a:lvl2pPr>
            <a:lvl3pPr>
              <a:defRPr sz="1800">
                <a:solidFill>
                  <a:srgbClr val="FFCC4E"/>
                </a:solidFill>
              </a:defRPr>
            </a:lvl3pPr>
            <a:lvl4pPr>
              <a:defRPr sz="1800">
                <a:solidFill>
                  <a:srgbClr val="FFCC4E"/>
                </a:solidFill>
              </a:defRPr>
            </a:lvl4pPr>
            <a:lvl5pPr>
              <a:defRPr sz="1800">
                <a:solidFill>
                  <a:srgbClr val="FFCC4E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 err="1"/>
              <a:t>fth</a:t>
            </a:r>
            <a:r>
              <a:rPr lang="en-GB" noProof="0"/>
              <a:t>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629367B-34A8-4563-A1F3-2FC66FD3EB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56962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OLOUR_BG6">
    <p:bg>
      <p:bgPr>
        <a:solidFill>
          <a:srgbClr val="0061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25B35B1-EFE6-4875-B916-1BC8765B5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032693-5FF5-4EE9-BE3E-903A4B28FE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>
                <a:solidFill>
                  <a:srgbClr val="009BDB"/>
                </a:solidFill>
              </a:defRPr>
            </a:lvl1pPr>
            <a:lvl2pPr>
              <a:defRPr sz="1800">
                <a:solidFill>
                  <a:srgbClr val="009BDB"/>
                </a:solidFill>
              </a:defRPr>
            </a:lvl2pPr>
            <a:lvl3pPr>
              <a:defRPr sz="1800">
                <a:solidFill>
                  <a:srgbClr val="009BDB"/>
                </a:solidFill>
              </a:defRPr>
            </a:lvl3pPr>
            <a:lvl4pPr>
              <a:defRPr sz="1800">
                <a:solidFill>
                  <a:srgbClr val="009BDB"/>
                </a:solidFill>
              </a:defRPr>
            </a:lvl4pPr>
            <a:lvl5pPr>
              <a:defRPr sz="1800">
                <a:solidFill>
                  <a:srgbClr val="009BDB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E75EAA0-B23C-4CF3-8040-68232CDD55A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46094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0" y="0"/>
            <a:ext cx="12277314" cy="6858000"/>
          </a:xfrm>
          <a:prstGeom prst="rect">
            <a:avLst/>
          </a:prstGeom>
          <a:solidFill>
            <a:srgbClr val="335E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rgbClr val="003249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59915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835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2D8AF-452C-D94D-A560-DAD6A962E1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3559" y="6264308"/>
            <a:ext cx="262375" cy="169200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>
            <a:lvl1pPr algn="r">
              <a:defRPr lang="en-GB" sz="10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fld id="{525A3C56-E491-49B2-93F3-63532DF516BC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8" name="Titre 1">
            <a:extLst>
              <a:ext uri="{FF2B5EF4-FFF2-40B4-BE49-F238E27FC236}">
                <a16:creationId xmlns:a16="http://schemas.microsoft.com/office/drawing/2014/main" id="{561C906F-FE73-EC4B-9D46-7CD1B4F044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831" y="684001"/>
            <a:ext cx="10705632" cy="531097"/>
          </a:xfrm>
        </p:spPr>
        <p:txBody>
          <a:bodyPr>
            <a:noAutofit/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CA"/>
              <a:t>Title only slide</a:t>
            </a:r>
          </a:p>
        </p:txBody>
      </p:sp>
    </p:spTree>
    <p:extLst>
      <p:ext uri="{BB962C8B-B14F-4D97-AF65-F5344CB8AC3E}">
        <p14:creationId xmlns:p14="http://schemas.microsoft.com/office/powerpoint/2010/main" val="41993865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65">
            <a:extLst>
              <a:ext uri="{FF2B5EF4-FFF2-40B4-BE49-F238E27FC236}">
                <a16:creationId xmlns:a16="http://schemas.microsoft.com/office/drawing/2014/main" id="{67F11124-82EC-4269-B097-AA13626176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30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5600" cy="6858000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>
              <a:solidFill>
                <a:schemeClr val="lt1">
                  <a:alpha val="60000"/>
                </a:schemeClr>
              </a:solidFill>
            </a:endParaRPr>
          </a:p>
        </p:txBody>
      </p:sp>
      <p:grpSp>
        <p:nvGrpSpPr>
          <p:cNvPr id="4" name="Group 35" hidden="1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pic>
        <p:nvPicPr>
          <p:cNvPr id="93" name="Picture 58">
            <a:extLst>
              <a:ext uri="{FF2B5EF4-FFF2-40B4-BE49-F238E27FC236}">
                <a16:creationId xmlns:a16="http://schemas.microsoft.com/office/drawing/2014/main" id="{FACF339E-D219-4088-BAC1-2C9C82F813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1" name="Text Box 38">
            <a:extLst>
              <a:ext uri="{FF2B5EF4-FFF2-40B4-BE49-F238E27FC236}">
                <a16:creationId xmlns:a16="http://schemas.microsoft.com/office/drawing/2014/main" id="{877F5B03-CBC3-47CB-9BB2-474A78C4A2D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9EE444F-6605-400F-BF7E-C6FB5D4308CE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20DA465-76C5-4858-B030-FBB9CA538CD7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9" name="Picture 5">
            <a:extLst>
              <a:ext uri="{FF2B5EF4-FFF2-40B4-BE49-F238E27FC236}">
                <a16:creationId xmlns:a16="http://schemas.microsoft.com/office/drawing/2014/main" id="{F46AEE21-774A-4AB5-ADC4-A6979F397CFE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6" y="6452251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5997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Pr>
        <a:solidFill>
          <a:srgbClr val="00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2B2B2E7-BCE3-4EC1-AD51-3894C5284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 algn="l">
              <a:defRPr sz="3000"/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918537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69">
            <a:extLst>
              <a:ext uri="{FF2B5EF4-FFF2-40B4-BE49-F238E27FC236}">
                <a16:creationId xmlns:a16="http://schemas.microsoft.com/office/drawing/2014/main" id="{62C2602F-BC1F-4AC9-8F8F-37D4246EC5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229200" cy="6878925"/>
          </a:xfrm>
          <a:prstGeom prst="rect">
            <a:avLst/>
          </a:prstGeom>
        </p:spPr>
      </p:pic>
      <p:sp>
        <p:nvSpPr>
          <p:cNvPr id="90" name="Rectangle 4">
            <a:extLst>
              <a:ext uri="{FF2B5EF4-FFF2-40B4-BE49-F238E27FC236}">
                <a16:creationId xmlns:a16="http://schemas.microsoft.com/office/drawing/2014/main" id="{FBF93EDD-5149-43C3-AE03-E4F5F512FE93}"/>
              </a:ext>
            </a:extLst>
          </p:cNvPr>
          <p:cNvSpPr/>
          <p:nvPr userDrawn="1"/>
        </p:nvSpPr>
        <p:spPr>
          <a:xfrm>
            <a:off x="1" y="-2"/>
            <a:ext cx="12225338" cy="6878925"/>
          </a:xfrm>
          <a:prstGeom prst="rect">
            <a:avLst/>
          </a:prstGeom>
          <a:solidFill>
            <a:srgbClr val="003249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323" name="Rectangle 2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18699" y="5258117"/>
            <a:ext cx="10627380" cy="38145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Font typeface="Verdana" pitchFamily="34" charset="0"/>
              <a:buNone/>
              <a:defRPr sz="1736"/>
            </a:lvl1pPr>
          </a:lstStyle>
          <a:p>
            <a:pPr lvl="0"/>
            <a:r>
              <a:rPr lang="en-GB" noProof="0" err="1"/>
              <a:t>SubTitle</a:t>
            </a:r>
            <a:endParaRPr lang="en-GB" noProof="0"/>
          </a:p>
        </p:txBody>
      </p:sp>
      <p:sp>
        <p:nvSpPr>
          <p:cNvPr id="56325" name="Rectangle 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26000" y="3351588"/>
            <a:ext cx="11865600" cy="707886"/>
          </a:xfrm>
          <a:prstGeom prst="rect">
            <a:avLst/>
          </a:prstGeom>
        </p:spPr>
        <p:txBody>
          <a:bodyPr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/>
              <a:t>NAME YOUR PRESENTATION</a:t>
            </a:r>
          </a:p>
        </p:txBody>
      </p:sp>
      <p:sp>
        <p:nvSpPr>
          <p:cNvPr id="56347" name="Text Box 27"/>
          <p:cNvSpPr txBox="1">
            <a:spLocks noChangeArrowheads="1"/>
          </p:cNvSpPr>
          <p:nvPr userDrawn="1"/>
        </p:nvSpPr>
        <p:spPr bwMode="auto">
          <a:xfrm>
            <a:off x="844737" y="642937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cxnSp>
        <p:nvCxnSpPr>
          <p:cNvPr id="121" name="Straight Connector 64">
            <a:extLst>
              <a:ext uri="{FF2B5EF4-FFF2-40B4-BE49-F238E27FC236}">
                <a16:creationId xmlns:a16="http://schemas.microsoft.com/office/drawing/2014/main" id="{6B88ADAB-0C9C-4BC9-A42C-A57312626145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22971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152">
            <a:extLst>
              <a:ext uri="{FF2B5EF4-FFF2-40B4-BE49-F238E27FC236}">
                <a16:creationId xmlns:a16="http://schemas.microsoft.com/office/drawing/2014/main" id="{357F7D0F-2D50-4418-8EB4-564A4B2CEE5B}"/>
              </a:ext>
            </a:extLst>
          </p:cNvPr>
          <p:cNvCxnSpPr>
            <a:cxnSpLocks/>
          </p:cNvCxnSpPr>
          <p:nvPr userDrawn="1"/>
        </p:nvCxnSpPr>
        <p:spPr>
          <a:xfrm>
            <a:off x="223200" y="4106871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Box 24">
            <a:extLst>
              <a:ext uri="{FF2B5EF4-FFF2-40B4-BE49-F238E27FC236}">
                <a16:creationId xmlns:a16="http://schemas.microsoft.com/office/drawing/2014/main" id="{7D33984A-D43C-428F-AB4A-04E5B59FAE7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33582" y="5406990"/>
            <a:ext cx="227947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4" name="Text Box 25">
            <a:extLst>
              <a:ext uri="{FF2B5EF4-FFF2-40B4-BE49-F238E27FC236}">
                <a16:creationId xmlns:a16="http://schemas.microsoft.com/office/drawing/2014/main" id="{7AB46881-5DF0-4A35-AA27-0D32ECF823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811453" y="6156809"/>
            <a:ext cx="227948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5" name="Text Box 99">
            <a:extLst>
              <a:ext uri="{FF2B5EF4-FFF2-40B4-BE49-F238E27FC236}">
                <a16:creationId xmlns:a16="http://schemas.microsoft.com/office/drawing/2014/main" id="{D9FE3E1C-24B3-4F63-846C-260B4220AAC5}"/>
              </a:ext>
            </a:extLst>
          </p:cNvPr>
          <p:cNvSpPr/>
          <p:nvPr userDrawn="1"/>
        </p:nvSpPr>
        <p:spPr>
          <a:xfrm>
            <a:off x="11125001" y="5811879"/>
            <a:ext cx="914400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it-IT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0" name="Text Box 58"/>
          <p:cNvSpPr txBox="1">
            <a:spLocks noChangeArrowheads="1"/>
          </p:cNvSpPr>
          <p:nvPr userDrawn="1"/>
        </p:nvSpPr>
        <p:spPr bwMode="auto">
          <a:xfrm>
            <a:off x="223200" y="6213933"/>
            <a:ext cx="670695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anchor="b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A UNCLASSIFIED - For ESA Official Use Only</a:t>
            </a:r>
          </a:p>
        </p:txBody>
      </p:sp>
      <p:sp>
        <p:nvSpPr>
          <p:cNvPr id="4" name="Text Box 34">
            <a:extLst>
              <a:ext uri="{FF2B5EF4-FFF2-40B4-BE49-F238E27FC236}">
                <a16:creationId xmlns:a16="http://schemas.microsoft.com/office/drawing/2014/main" id="{936521E2-36D7-4AF3-B70B-FA4D9649E4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664495" y="6202800"/>
            <a:ext cx="2911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6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pic>
        <p:nvPicPr>
          <p:cNvPr id="65" name="Picture 5">
            <a:extLst>
              <a:ext uri="{FF2B5EF4-FFF2-40B4-BE49-F238E27FC236}">
                <a16:creationId xmlns:a16="http://schemas.microsoft.com/office/drawing/2014/main" id="{BBC9EEE5-B210-445C-81EF-FEA569E56083}"/>
              </a:ext>
            </a:extLst>
          </p:cNvPr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41396" cy="10440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860" y="6465593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943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32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6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56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0"/>
                            </p:stCondLst>
                            <p:childTnLst>
                              <p:par>
                                <p:cTn id="42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 animBg="1"/>
      <p:bldP spid="56323" grpId="0">
        <p:tmplLst>
          <p:tmpl>
            <p:tnLst>
              <p:par>
                <p:cTn presetID="2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3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563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325" grpId="0"/>
      <p:bldP spid="43" grpId="0" build="allAtOnce"/>
      <p:bldP spid="44" grpId="0" build="allAtOnce"/>
      <p:bldP spid="45" grpId="0" build="allAtOnce"/>
      <p:bldP spid="10" grpId="0"/>
    </p:bld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>
            <a:extLst>
              <a:ext uri="{FF2B5EF4-FFF2-40B4-BE49-F238E27FC236}">
                <a16:creationId xmlns:a16="http://schemas.microsoft.com/office/drawing/2014/main" id="{DA6F988C-F9E9-488F-B04A-A6A5E348FB48}"/>
              </a:ext>
            </a:extLst>
          </p:cNvPr>
          <p:cNvSpPr/>
          <p:nvPr userDrawn="1"/>
        </p:nvSpPr>
        <p:spPr>
          <a:xfrm>
            <a:off x="0" y="0"/>
            <a:ext cx="12225338" cy="882193"/>
          </a:xfrm>
          <a:prstGeom prst="rect">
            <a:avLst/>
          </a:prstGeom>
          <a:solidFill>
            <a:srgbClr val="0032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72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FB711613-D936-4B0D-87EB-6F0E6CE908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8D686FA-69F1-452F-8A03-7EBE0FAEF4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196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CB0AC2C-C495-9D4C-B412-174B5899FD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FD03D16-060D-4760-9512-2863FE01A68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9731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26AA14-B9DD-4FF8-8B2B-689FEBBACA1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518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193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DDE0A18-E398-40EE-9B5C-EFF1AB1879B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4FC899-091E-48CC-B4A2-B442B733582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351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>
                <a:solidFill>
                  <a:srgbClr val="003249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9A1B071-1AF1-4E5C-847C-81B99F1817C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18859" y="1673225"/>
            <a:ext cx="5804673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US" noProof="0"/>
              <a:t>Click to edit </a:t>
            </a:r>
            <a:r>
              <a:rPr lang="en-GB" noProof="0"/>
              <a:t>Master</a:t>
            </a:r>
            <a:r>
              <a:rPr lang="en-US" noProof="0"/>
              <a:t> text styles</a:t>
            </a:r>
          </a:p>
          <a:p>
            <a:pPr lvl="1"/>
            <a:r>
              <a:rPr lang="en-GB" noProof="0"/>
              <a:t>Second</a:t>
            </a:r>
            <a:r>
              <a:rPr lang="en-US" noProof="0"/>
              <a:t> level</a:t>
            </a:r>
          </a:p>
          <a:p>
            <a:pPr lvl="2"/>
            <a:r>
              <a:rPr lang="en-US" noProof="0"/>
              <a:t>Third </a:t>
            </a:r>
            <a:r>
              <a:rPr lang="en-GB" noProof="0"/>
              <a:t>level</a:t>
            </a:r>
          </a:p>
          <a:p>
            <a:pPr lvl="3"/>
            <a:r>
              <a:rPr lang="en-GB" noProof="0"/>
              <a:t>Fourth</a:t>
            </a:r>
            <a:r>
              <a:rPr lang="en-US" noProof="0"/>
              <a:t> level</a:t>
            </a:r>
          </a:p>
          <a:p>
            <a:pPr lvl="4"/>
            <a:r>
              <a:rPr lang="en-GB" noProof="0"/>
              <a:t>Fifth</a:t>
            </a:r>
            <a:r>
              <a:rPr lang="en-US" noProof="0"/>
              <a:t> level</a:t>
            </a:r>
            <a:endParaRPr lang="en-GB" noProof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FECB638-90E0-45FF-9E57-2E1BEA99D0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27279" y="1673225"/>
            <a:ext cx="5762854" cy="431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302"/>
            </a:lvl6pPr>
            <a:lvl7pPr>
              <a:defRPr sz="1302"/>
            </a:lvl7pPr>
            <a:lvl8pPr>
              <a:defRPr sz="1302"/>
            </a:lvl8pPr>
            <a:lvl9pPr>
              <a:defRPr sz="1302"/>
            </a:lvl9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FE92DEE-E179-466F-A2E3-A937D4BD20B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AA69D56B-45C7-41CE-AF85-CFBD7346FBE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9259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1">
    <p:bg>
      <p:bgPr>
        <a:solidFill>
          <a:srgbClr val="E8E9E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0E7C54A7-24E4-4E66-907D-44DB138DAC0D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DA993C77-CBED-4B2B-A114-59C4D8D6CE97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B86A34-E450-424B-A07C-89D1870D3D2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55002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EAR_COLOUR_BG2">
    <p:bg>
      <p:bgPr>
        <a:solidFill>
          <a:srgbClr val="76C8A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8770F7F7-54D2-419E-ACE8-1E203802996C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006762"/>
                </a:solidFill>
              </a:defRPr>
            </a:lvl1pPr>
            <a:lvl2pPr>
              <a:defRPr sz="1800">
                <a:solidFill>
                  <a:srgbClr val="006762"/>
                </a:solidFill>
              </a:defRPr>
            </a:lvl2pPr>
            <a:lvl3pPr>
              <a:defRPr sz="1800">
                <a:solidFill>
                  <a:srgbClr val="006762"/>
                </a:solidFill>
              </a:defRPr>
            </a:lvl3pPr>
            <a:lvl4pPr>
              <a:defRPr sz="1800">
                <a:solidFill>
                  <a:srgbClr val="006762"/>
                </a:solidFill>
              </a:defRPr>
            </a:lvl4pPr>
            <a:lvl5pPr>
              <a:defRPr sz="1800">
                <a:solidFill>
                  <a:srgbClr val="006762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E16786-8A3C-4C82-B63C-69D03B24564C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28B05E-06E9-4FF8-9E34-30F8C9AD515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8112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3">
    <p:bg>
      <p:bgPr>
        <a:solidFill>
          <a:srgbClr val="F166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C7C0E3E-0D11-4538-8949-D8211CDC6C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424FBA6A-9B37-4307-AF0B-2FB195B99602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960136"/>
                </a:solidFill>
              </a:defRPr>
            </a:lvl1pPr>
            <a:lvl2pPr>
              <a:defRPr sz="1800">
                <a:solidFill>
                  <a:srgbClr val="960136"/>
                </a:solidFill>
              </a:defRPr>
            </a:lvl2pPr>
            <a:lvl3pPr>
              <a:defRPr sz="1800">
                <a:solidFill>
                  <a:srgbClr val="960136"/>
                </a:solidFill>
              </a:defRPr>
            </a:lvl3pPr>
            <a:lvl4pPr>
              <a:defRPr sz="1800">
                <a:solidFill>
                  <a:srgbClr val="960136"/>
                </a:solidFill>
              </a:defRPr>
            </a:lvl4pPr>
            <a:lvl5pPr>
              <a:defRPr sz="1800">
                <a:solidFill>
                  <a:srgbClr val="960136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8935B88-E3A5-4B18-A1DA-E525414B3B3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9DC6253-9DAC-40B0-A41B-C4BC48EE2683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1446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4">
    <p:bg>
      <p:bgPr>
        <a:solidFill>
          <a:srgbClr val="FFCC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B7504A-25CB-4BBC-AA4B-1A27FA922557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A75534"/>
                </a:solidFill>
              </a:defRPr>
            </a:lvl1pPr>
            <a:lvl2pPr>
              <a:defRPr sz="1800">
                <a:solidFill>
                  <a:srgbClr val="A75534"/>
                </a:solidFill>
              </a:defRPr>
            </a:lvl2pPr>
            <a:lvl3pPr>
              <a:defRPr sz="1800">
                <a:solidFill>
                  <a:srgbClr val="A75534"/>
                </a:solidFill>
              </a:defRPr>
            </a:lvl3pPr>
            <a:lvl4pPr>
              <a:defRPr sz="1800">
                <a:solidFill>
                  <a:srgbClr val="A75534"/>
                </a:solidFill>
              </a:defRPr>
            </a:lvl4pPr>
            <a:lvl5pPr>
              <a:defRPr sz="1800">
                <a:solidFill>
                  <a:srgbClr val="A75534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C96752-03D4-47C1-AF65-AB9BE9940335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99C38FE-3D95-4F29-9E13-19A29AD5EFC2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3769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0103AB9D-4033-450F-9AFB-12010B6E63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3" y="0"/>
            <a:ext cx="12192000" cy="6858000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2" y="0"/>
            <a:ext cx="12225339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95828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Text Box 38">
            <a:extLst>
              <a:ext uri="{FF2B5EF4-FFF2-40B4-BE49-F238E27FC236}">
                <a16:creationId xmlns:a16="http://schemas.microsoft.com/office/drawing/2014/main" id="{CC8E513C-B257-4001-A64F-C4F555784E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275813CB-4394-43D3-A6B9-ACE26136B241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325E3871-9DD3-4380-BBB0-9E0A8BFDF550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5">
            <a:extLst>
              <a:ext uri="{FF2B5EF4-FFF2-40B4-BE49-F238E27FC236}">
                <a16:creationId xmlns:a16="http://schemas.microsoft.com/office/drawing/2014/main" id="{663393E8-7604-477C-92ED-F503CA6D7EE9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73" y="6449087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7154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_COLOUR_BG5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BAD5E32-67F7-433E-80AC-7E81CA1D6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A34D9EA-0CED-4E85-B2F0-17341F16C1AB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860" y="882192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rgbClr val="1E3378"/>
                </a:solidFill>
              </a:defRPr>
            </a:lvl1pPr>
            <a:lvl2pPr>
              <a:defRPr sz="1800">
                <a:solidFill>
                  <a:srgbClr val="1E3378"/>
                </a:solidFill>
              </a:defRPr>
            </a:lvl2pPr>
            <a:lvl3pPr>
              <a:defRPr sz="1800">
                <a:solidFill>
                  <a:srgbClr val="1E3378"/>
                </a:solidFill>
              </a:defRPr>
            </a:lvl3pPr>
            <a:lvl4pPr>
              <a:defRPr sz="1800">
                <a:solidFill>
                  <a:srgbClr val="1E3378"/>
                </a:solidFill>
              </a:defRPr>
            </a:lvl4pPr>
            <a:lvl5pPr>
              <a:defRPr sz="1800">
                <a:solidFill>
                  <a:srgbClr val="1E3378"/>
                </a:solidFill>
              </a:defRPr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CF711926-946D-4031-95C0-4DF8DCFCC3F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03F0612-5267-4585-B281-9C491C4E1A3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rgbClr val="0032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7368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_CLOSING1">
    <p:bg>
      <p:bgPr>
        <a:solidFill>
          <a:srgbClr val="6DCF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F9D6BA-4369-4A77-B906-1DB3998CAEE6}"/>
              </a:ext>
            </a:extLst>
          </p:cNvPr>
          <p:cNvSpPr/>
          <p:nvPr userDrawn="1"/>
        </p:nvSpPr>
        <p:spPr>
          <a:xfrm>
            <a:off x="-369664" y="0"/>
            <a:ext cx="1259500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D3BEF3-BA94-4314-8B5C-E1B50DD15057}"/>
              </a:ext>
            </a:extLst>
          </p:cNvPr>
          <p:cNvSpPr/>
          <p:nvPr userDrawn="1"/>
        </p:nvSpPr>
        <p:spPr>
          <a:xfrm flipH="1">
            <a:off x="4699115" y="2011304"/>
            <a:ext cx="2827109" cy="2819035"/>
          </a:xfrm>
          <a:prstGeom prst="rect">
            <a:avLst/>
          </a:prstGeom>
          <a:solidFill>
            <a:schemeClr val="bg1"/>
          </a:solidFill>
          <a:ln w="9525">
            <a:solidFill>
              <a:srgbClr val="0032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72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9F16787-8A53-41D0-B7DB-805E3E72C17B}"/>
              </a:ext>
            </a:extLst>
          </p:cNvPr>
          <p:cNvSpPr txBox="1">
            <a:spLocks/>
          </p:cNvSpPr>
          <p:nvPr userDrawn="1"/>
        </p:nvSpPr>
        <p:spPr>
          <a:xfrm>
            <a:off x="4699115" y="4524207"/>
            <a:ext cx="2820471" cy="314495"/>
          </a:xfrm>
          <a:prstGeom prst="rect">
            <a:avLst/>
          </a:prstGeom>
        </p:spPr>
        <p:txBody>
          <a:bodyPr vert="horz" lIns="66151" tIns="33076" rIns="66151" bIns="33076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013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C7BEF393-6511-46BA-9E6C-1CDE034CBF68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699115" y="2041527"/>
            <a:ext cx="2827111" cy="235902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14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142739B0-932D-4E43-A871-586E86D63CDA}"/>
              </a:ext>
            </a:extLst>
          </p:cNvPr>
          <p:cNvSpPr txBox="1">
            <a:spLocks/>
          </p:cNvSpPr>
          <p:nvPr userDrawn="1"/>
        </p:nvSpPr>
        <p:spPr>
          <a:xfrm>
            <a:off x="4699115" y="1740025"/>
            <a:ext cx="2827111" cy="261521"/>
          </a:xfrm>
          <a:prstGeom prst="rect">
            <a:avLst/>
          </a:prstGeom>
        </p:spPr>
        <p:txBody>
          <a:bodyPr vert="horz" lIns="66151" tIns="33076" rIns="66151" bIns="33076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796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t>Produced by</a:t>
            </a:r>
            <a:endParaRPr lang="en-US" sz="796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95EE1E9-8C9C-4791-ADEC-8A6CB2EB49B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99115" y="4406774"/>
            <a:ext cx="2827111" cy="42356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500" b="0" baseline="0">
                <a:solidFill>
                  <a:srgbClr val="003249"/>
                </a:solidFill>
                <a:latin typeface="Arial" charset="0"/>
                <a:ea typeface="Arial" charset="0"/>
                <a:cs typeface="Arial" charset="0"/>
              </a:defRPr>
            </a:lvl1pPr>
            <a:lvl2pPr marL="330738" indent="0">
              <a:buNone/>
              <a:defRPr sz="1447" b="1"/>
            </a:lvl2pPr>
            <a:lvl3pPr marL="661477" indent="0">
              <a:buNone/>
              <a:defRPr sz="1302" b="1"/>
            </a:lvl3pPr>
            <a:lvl4pPr marL="992215" indent="0">
              <a:buNone/>
              <a:defRPr sz="1157" b="1"/>
            </a:lvl4pPr>
            <a:lvl5pPr marL="1322954" indent="0">
              <a:buNone/>
              <a:defRPr sz="1157" b="1"/>
            </a:lvl5pPr>
            <a:lvl6pPr marL="1653692" indent="0">
              <a:buNone/>
              <a:defRPr sz="1157" b="1"/>
            </a:lvl6pPr>
            <a:lvl7pPr marL="1984431" indent="0">
              <a:buNone/>
              <a:defRPr sz="1157" b="1"/>
            </a:lvl7pPr>
            <a:lvl8pPr marL="2315169" indent="0">
              <a:buNone/>
              <a:defRPr sz="1157" b="1"/>
            </a:lvl8pPr>
            <a:lvl9pPr marL="2645908" indent="0">
              <a:buNone/>
              <a:defRPr sz="1157" b="1"/>
            </a:lvl9pPr>
          </a:lstStyle>
          <a:p>
            <a:pPr lvl="0"/>
            <a:r>
              <a:rPr lang="en-GB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57404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79981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672497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023" y="98447"/>
            <a:ext cx="9594025" cy="553998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227" y="863602"/>
            <a:ext cx="11695255" cy="5337175"/>
          </a:xfrm>
          <a:prstGeom prst="rect">
            <a:avLst/>
          </a:prstGeom>
        </p:spPr>
        <p:txBody>
          <a:bodyPr/>
          <a:lstStyle>
            <a:lvl1pPr marL="0"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107284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F73144F-B6DA-43DE-8986-0AB5D2CDA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00" y="154800"/>
            <a:ext cx="10108800" cy="565200"/>
          </a:xfrm>
        </p:spPr>
        <p:txBody>
          <a:bodyPr/>
          <a:lstStyle>
            <a:lvl1pPr algn="l">
              <a:defRPr sz="3000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B4E70818-9563-4F06-956D-FEFEF006586A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218262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61AD377-1350-4EFA-894B-5CEA5EA7AA40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rgbClr val="003249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6523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G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DA398890-117D-44A3-97A3-567CB60E6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33" y="-1"/>
            <a:ext cx="12191999" cy="6858001"/>
          </a:xfrm>
          <a:prstGeom prst="rect">
            <a:avLst/>
          </a:prstGeom>
        </p:spPr>
      </p:pic>
      <p:sp>
        <p:nvSpPr>
          <p:cNvPr id="34" name="Rectangle 38">
            <a:extLst>
              <a:ext uri="{FF2B5EF4-FFF2-40B4-BE49-F238E27FC236}">
                <a16:creationId xmlns:a16="http://schemas.microsoft.com/office/drawing/2014/main" id="{9C759BF4-95BD-4497-8F73-35566BC9CAF7}"/>
              </a:ext>
            </a:extLst>
          </p:cNvPr>
          <p:cNvSpPr/>
          <p:nvPr userDrawn="1"/>
        </p:nvSpPr>
        <p:spPr>
          <a:xfrm>
            <a:off x="-1" y="0"/>
            <a:ext cx="12222000" cy="6858000"/>
          </a:xfrm>
          <a:prstGeom prst="rect">
            <a:avLst/>
          </a:prstGeom>
          <a:solidFill>
            <a:srgbClr val="003249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lt1">
                  <a:alpha val="60000"/>
                </a:schemeClr>
              </a:solidFill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pic>
        <p:nvPicPr>
          <p:cNvPr id="32" name="Picture 58">
            <a:extLst>
              <a:ext uri="{FF2B5EF4-FFF2-40B4-BE49-F238E27FC236}">
                <a16:creationId xmlns:a16="http://schemas.microsoft.com/office/drawing/2014/main" id="{A9766FEA-5C39-42C1-9AEE-A80D8B6D13B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sp>
        <p:nvSpPr>
          <p:cNvPr id="5" name="Text Box 38">
            <a:extLst>
              <a:ext uri="{FF2B5EF4-FFF2-40B4-BE49-F238E27FC236}">
                <a16:creationId xmlns:a16="http://schemas.microsoft.com/office/drawing/2014/main" id="{7EAA3B37-8161-430C-A74C-2E26E270DE0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5939" y="6201716"/>
            <a:ext cx="375149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lvl="2" algn="r">
              <a:spcBef>
                <a:spcPct val="50000"/>
              </a:spcBef>
            </a:pPr>
            <a:fld id="{BBA2E11D-44E1-43DD-A173-928128880055}" type="slidenum">
              <a:rPr lang="en-GB" sz="800" noProof="1" smtClean="0">
                <a:solidFill>
                  <a:srgbClr val="8197A6"/>
                </a:solidFill>
                <a:latin typeface="Arial" charset="0"/>
                <a:ea typeface="Arial" charset="0"/>
                <a:cs typeface="Arial" charset="0"/>
              </a:rPr>
              <a:pPr lvl="2" algn="r">
                <a:spcBef>
                  <a:spcPct val="50000"/>
                </a:spcBef>
              </a:pPr>
              <a:t>‹#›</a:t>
            </a:fld>
            <a:endParaRPr lang="en-GB" sz="800" b="0" i="0" noProof="0">
              <a:solidFill>
                <a:srgbClr val="8197A6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5880B0D-A6A8-4687-98E2-A96E60FA37AA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49C1B0E-6D53-4CDD-9145-B0B42CF57C06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5">
            <a:extLst>
              <a:ext uri="{FF2B5EF4-FFF2-40B4-BE49-F238E27FC236}">
                <a16:creationId xmlns:a16="http://schemas.microsoft.com/office/drawing/2014/main" id="{AFACDF93-324D-4973-8C62-633313B491BB}"/>
              </a:ext>
            </a:extLst>
          </p:cNvPr>
          <p:cNvPicPr>
            <a:picLocks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9" y="6449973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659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37" hidden="1">
            <a:extLst>
              <a:ext uri="{FF2B5EF4-FFF2-40B4-BE49-F238E27FC236}">
                <a16:creationId xmlns:a16="http://schemas.microsoft.com/office/drawing/2014/main" id="{978F2107-068F-4327-9136-6EB3073A4403}"/>
              </a:ext>
            </a:extLst>
          </p:cNvPr>
          <p:cNvGrpSpPr/>
          <p:nvPr userDrawn="1"/>
        </p:nvGrpSpPr>
        <p:grpSpPr>
          <a:xfrm>
            <a:off x="443470" y="3456849"/>
            <a:ext cx="11852806" cy="2970388"/>
            <a:chOff x="442260" y="3600153"/>
            <a:chExt cx="11820483" cy="2970388"/>
          </a:xfrm>
        </p:grpSpPr>
        <p:cxnSp>
          <p:nvCxnSpPr>
            <p:cNvPr id="7" name="Straight Connector 38">
              <a:extLst>
                <a:ext uri="{FF2B5EF4-FFF2-40B4-BE49-F238E27FC236}">
                  <a16:creationId xmlns:a16="http://schemas.microsoft.com/office/drawing/2014/main" id="{B5909EFF-FFE7-4DCA-BB35-2930538F8575}"/>
                </a:ext>
              </a:extLst>
            </p:cNvPr>
            <p:cNvCxnSpPr/>
            <p:nvPr userDrawn="1"/>
          </p:nvCxnSpPr>
          <p:spPr>
            <a:xfrm flipV="1">
              <a:off x="930228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39">
              <a:extLst>
                <a:ext uri="{FF2B5EF4-FFF2-40B4-BE49-F238E27FC236}">
                  <a16:creationId xmlns:a16="http://schemas.microsoft.com/office/drawing/2014/main" id="{BBF66BD5-8EBB-4321-AEA7-778A769BCD0F}"/>
                </a:ext>
              </a:extLst>
            </p:cNvPr>
            <p:cNvCxnSpPr/>
            <p:nvPr userDrawn="1"/>
          </p:nvCxnSpPr>
          <p:spPr>
            <a:xfrm flipV="1">
              <a:off x="877305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40">
              <a:extLst>
                <a:ext uri="{FF2B5EF4-FFF2-40B4-BE49-F238E27FC236}">
                  <a16:creationId xmlns:a16="http://schemas.microsoft.com/office/drawing/2014/main" id="{B6105F55-6F73-4EAC-A6FE-341C1EDD082D}"/>
                </a:ext>
              </a:extLst>
            </p:cNvPr>
            <p:cNvCxnSpPr/>
            <p:nvPr userDrawn="1"/>
          </p:nvCxnSpPr>
          <p:spPr>
            <a:xfrm flipV="1">
              <a:off x="8235524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41">
              <a:extLst>
                <a:ext uri="{FF2B5EF4-FFF2-40B4-BE49-F238E27FC236}">
                  <a16:creationId xmlns:a16="http://schemas.microsoft.com/office/drawing/2014/main" id="{231C4A1D-0D18-4C45-8CD2-9B482D211697}"/>
                </a:ext>
              </a:extLst>
            </p:cNvPr>
            <p:cNvCxnSpPr/>
            <p:nvPr userDrawn="1"/>
          </p:nvCxnSpPr>
          <p:spPr>
            <a:xfrm flipV="1">
              <a:off x="78660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42">
              <a:extLst>
                <a:ext uri="{FF2B5EF4-FFF2-40B4-BE49-F238E27FC236}">
                  <a16:creationId xmlns:a16="http://schemas.microsoft.com/office/drawing/2014/main" id="{887B699A-26D9-4993-847C-C919922EE7EC}"/>
                </a:ext>
              </a:extLst>
            </p:cNvPr>
            <p:cNvCxnSpPr/>
            <p:nvPr userDrawn="1"/>
          </p:nvCxnSpPr>
          <p:spPr>
            <a:xfrm flipV="1">
              <a:off x="7498863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3">
              <a:extLst>
                <a:ext uri="{FF2B5EF4-FFF2-40B4-BE49-F238E27FC236}">
                  <a16:creationId xmlns:a16="http://schemas.microsoft.com/office/drawing/2014/main" id="{2861B340-F5C1-4BA1-BA98-8D650473066B}"/>
                </a:ext>
              </a:extLst>
            </p:cNvPr>
            <p:cNvCxnSpPr/>
            <p:nvPr userDrawn="1"/>
          </p:nvCxnSpPr>
          <p:spPr>
            <a:xfrm flipV="1">
              <a:off x="7127208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44">
              <a:extLst>
                <a:ext uri="{FF2B5EF4-FFF2-40B4-BE49-F238E27FC236}">
                  <a16:creationId xmlns:a16="http://schemas.microsoft.com/office/drawing/2014/main" id="{C3568F9F-131F-4452-A304-F5E5399BCD8C}"/>
                </a:ext>
              </a:extLst>
            </p:cNvPr>
            <p:cNvCxnSpPr/>
            <p:nvPr userDrawn="1"/>
          </p:nvCxnSpPr>
          <p:spPr>
            <a:xfrm flipV="1">
              <a:off x="675865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45">
              <a:extLst>
                <a:ext uri="{FF2B5EF4-FFF2-40B4-BE49-F238E27FC236}">
                  <a16:creationId xmlns:a16="http://schemas.microsoft.com/office/drawing/2014/main" id="{CF836D01-B716-45B7-86B0-7412F0310BC3}"/>
                </a:ext>
              </a:extLst>
            </p:cNvPr>
            <p:cNvCxnSpPr/>
            <p:nvPr userDrawn="1"/>
          </p:nvCxnSpPr>
          <p:spPr>
            <a:xfrm flipV="1">
              <a:off x="638946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46">
              <a:extLst>
                <a:ext uri="{FF2B5EF4-FFF2-40B4-BE49-F238E27FC236}">
                  <a16:creationId xmlns:a16="http://schemas.microsoft.com/office/drawing/2014/main" id="{456D7560-3022-407D-A56A-387D1CF7CBBE}"/>
                </a:ext>
              </a:extLst>
            </p:cNvPr>
            <p:cNvCxnSpPr/>
            <p:nvPr userDrawn="1"/>
          </p:nvCxnSpPr>
          <p:spPr>
            <a:xfrm flipV="1">
              <a:off x="6009868" y="3607282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47">
              <a:extLst>
                <a:ext uri="{FF2B5EF4-FFF2-40B4-BE49-F238E27FC236}">
                  <a16:creationId xmlns:a16="http://schemas.microsoft.com/office/drawing/2014/main" id="{C7A0A529-063D-45DD-8385-C74DBDC59E7E}"/>
                </a:ext>
              </a:extLst>
            </p:cNvPr>
            <p:cNvCxnSpPr/>
            <p:nvPr userDrawn="1"/>
          </p:nvCxnSpPr>
          <p:spPr>
            <a:xfrm flipV="1">
              <a:off x="56439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48">
              <a:extLst>
                <a:ext uri="{FF2B5EF4-FFF2-40B4-BE49-F238E27FC236}">
                  <a16:creationId xmlns:a16="http://schemas.microsoft.com/office/drawing/2014/main" id="{A931E34D-B55F-40AD-83AF-7163B7D714F7}"/>
                </a:ext>
              </a:extLst>
            </p:cNvPr>
            <p:cNvCxnSpPr/>
            <p:nvPr userDrawn="1"/>
          </p:nvCxnSpPr>
          <p:spPr>
            <a:xfrm flipV="1">
              <a:off x="5269261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49">
              <a:extLst>
                <a:ext uri="{FF2B5EF4-FFF2-40B4-BE49-F238E27FC236}">
                  <a16:creationId xmlns:a16="http://schemas.microsoft.com/office/drawing/2014/main" id="{85C0AB43-36CD-4E1C-BBD6-F6E40C7E2D07}"/>
                </a:ext>
              </a:extLst>
            </p:cNvPr>
            <p:cNvCxnSpPr/>
            <p:nvPr userDrawn="1"/>
          </p:nvCxnSpPr>
          <p:spPr>
            <a:xfrm flipV="1">
              <a:off x="48896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50">
              <a:extLst>
                <a:ext uri="{FF2B5EF4-FFF2-40B4-BE49-F238E27FC236}">
                  <a16:creationId xmlns:a16="http://schemas.microsoft.com/office/drawing/2014/main" id="{78CD91FC-28C9-4AC7-87D2-3236ADA79432}"/>
                </a:ext>
              </a:extLst>
            </p:cNvPr>
            <p:cNvCxnSpPr/>
            <p:nvPr userDrawn="1"/>
          </p:nvCxnSpPr>
          <p:spPr>
            <a:xfrm flipV="1">
              <a:off x="452332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51">
              <a:extLst>
                <a:ext uri="{FF2B5EF4-FFF2-40B4-BE49-F238E27FC236}">
                  <a16:creationId xmlns:a16="http://schemas.microsoft.com/office/drawing/2014/main" id="{43CC5094-48A5-4786-A10E-9CE8FDA8F34F}"/>
                </a:ext>
              </a:extLst>
            </p:cNvPr>
            <p:cNvCxnSpPr/>
            <p:nvPr userDrawn="1"/>
          </p:nvCxnSpPr>
          <p:spPr>
            <a:xfrm flipV="1">
              <a:off x="415592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52">
              <a:extLst>
                <a:ext uri="{FF2B5EF4-FFF2-40B4-BE49-F238E27FC236}">
                  <a16:creationId xmlns:a16="http://schemas.microsoft.com/office/drawing/2014/main" id="{B1CF75A4-9F1F-48F6-AFDA-C7897F2C1B55}"/>
                </a:ext>
              </a:extLst>
            </p:cNvPr>
            <p:cNvCxnSpPr/>
            <p:nvPr userDrawn="1"/>
          </p:nvCxnSpPr>
          <p:spPr>
            <a:xfrm flipV="1">
              <a:off x="3786582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3">
              <a:extLst>
                <a:ext uri="{FF2B5EF4-FFF2-40B4-BE49-F238E27FC236}">
                  <a16:creationId xmlns:a16="http://schemas.microsoft.com/office/drawing/2014/main" id="{D8B3EC32-3BCC-4CF3-A8AB-D5695C387FB1}"/>
                </a:ext>
              </a:extLst>
            </p:cNvPr>
            <p:cNvCxnSpPr/>
            <p:nvPr userDrawn="1"/>
          </p:nvCxnSpPr>
          <p:spPr>
            <a:xfrm flipV="1">
              <a:off x="342049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54">
              <a:extLst>
                <a:ext uri="{FF2B5EF4-FFF2-40B4-BE49-F238E27FC236}">
                  <a16:creationId xmlns:a16="http://schemas.microsoft.com/office/drawing/2014/main" id="{646D2636-826F-4188-AECD-8E9F547C330E}"/>
                </a:ext>
              </a:extLst>
            </p:cNvPr>
            <p:cNvCxnSpPr/>
            <p:nvPr userDrawn="1"/>
          </p:nvCxnSpPr>
          <p:spPr>
            <a:xfrm flipV="1">
              <a:off x="305109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55">
              <a:extLst>
                <a:ext uri="{FF2B5EF4-FFF2-40B4-BE49-F238E27FC236}">
                  <a16:creationId xmlns:a16="http://schemas.microsoft.com/office/drawing/2014/main" id="{D5190618-4665-4F2E-8844-020AD30239F6}"/>
                </a:ext>
              </a:extLst>
            </p:cNvPr>
            <p:cNvCxnSpPr/>
            <p:nvPr userDrawn="1"/>
          </p:nvCxnSpPr>
          <p:spPr>
            <a:xfrm flipV="1">
              <a:off x="2674287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6">
              <a:extLst>
                <a:ext uri="{FF2B5EF4-FFF2-40B4-BE49-F238E27FC236}">
                  <a16:creationId xmlns:a16="http://schemas.microsoft.com/office/drawing/2014/main" id="{E501E497-7672-440E-967B-911C1D6B4B10}"/>
                </a:ext>
              </a:extLst>
            </p:cNvPr>
            <p:cNvCxnSpPr/>
            <p:nvPr userDrawn="1"/>
          </p:nvCxnSpPr>
          <p:spPr>
            <a:xfrm flipV="1">
              <a:off x="230853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57">
              <a:extLst>
                <a:ext uri="{FF2B5EF4-FFF2-40B4-BE49-F238E27FC236}">
                  <a16:creationId xmlns:a16="http://schemas.microsoft.com/office/drawing/2014/main" id="{8A688C29-83E0-4CC9-A8C5-B6B30A57710C}"/>
                </a:ext>
              </a:extLst>
            </p:cNvPr>
            <p:cNvCxnSpPr/>
            <p:nvPr userDrawn="1"/>
          </p:nvCxnSpPr>
          <p:spPr>
            <a:xfrm flipV="1">
              <a:off x="193107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58">
              <a:extLst>
                <a:ext uri="{FF2B5EF4-FFF2-40B4-BE49-F238E27FC236}">
                  <a16:creationId xmlns:a16="http://schemas.microsoft.com/office/drawing/2014/main" id="{8D3348AE-2C08-472A-92E4-12BF79B738D1}"/>
                </a:ext>
              </a:extLst>
            </p:cNvPr>
            <p:cNvCxnSpPr/>
            <p:nvPr userDrawn="1"/>
          </p:nvCxnSpPr>
          <p:spPr>
            <a:xfrm flipV="1">
              <a:off x="1558445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59">
              <a:extLst>
                <a:ext uri="{FF2B5EF4-FFF2-40B4-BE49-F238E27FC236}">
                  <a16:creationId xmlns:a16="http://schemas.microsoft.com/office/drawing/2014/main" id="{D93531AE-9D57-49CA-BC46-F7384685F786}"/>
                </a:ext>
              </a:extLst>
            </p:cNvPr>
            <p:cNvCxnSpPr/>
            <p:nvPr userDrawn="1"/>
          </p:nvCxnSpPr>
          <p:spPr>
            <a:xfrm flipV="1">
              <a:off x="1188389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60">
              <a:extLst>
                <a:ext uri="{FF2B5EF4-FFF2-40B4-BE49-F238E27FC236}">
                  <a16:creationId xmlns:a16="http://schemas.microsoft.com/office/drawing/2014/main" id="{6130565B-76F2-434C-8896-54E337D6B462}"/>
                </a:ext>
              </a:extLst>
            </p:cNvPr>
            <p:cNvCxnSpPr/>
            <p:nvPr userDrawn="1"/>
          </p:nvCxnSpPr>
          <p:spPr>
            <a:xfrm flipV="1">
              <a:off x="814086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1">
              <a:extLst>
                <a:ext uri="{FF2B5EF4-FFF2-40B4-BE49-F238E27FC236}">
                  <a16:creationId xmlns:a16="http://schemas.microsoft.com/office/drawing/2014/main" id="{A0D45B84-40CC-46CF-ACE4-C3A1732817B3}"/>
                </a:ext>
              </a:extLst>
            </p:cNvPr>
            <p:cNvCxnSpPr/>
            <p:nvPr userDrawn="1"/>
          </p:nvCxnSpPr>
          <p:spPr>
            <a:xfrm flipV="1">
              <a:off x="442260" y="3600153"/>
              <a:ext cx="2960458" cy="2963259"/>
            </a:xfrm>
            <a:prstGeom prst="line">
              <a:avLst/>
            </a:prstGeom>
            <a:ln w="1270">
              <a:gradFill>
                <a:gsLst>
                  <a:gs pos="89000">
                    <a:srgbClr val="003249">
                      <a:alpha val="0"/>
                    </a:srgbClr>
                  </a:gs>
                  <a:gs pos="0">
                    <a:srgbClr val="335E6F"/>
                  </a:gs>
                </a:gsLst>
                <a:lin ang="27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60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47A283E-2E94-448F-92E5-2474B2498001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5278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3D3CCAE-5E68-40B7-96F4-1867CB3C21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F74DFCCB-83DE-47F4-9FF3-8FAEE5BF92D8}"/>
              </a:ext>
            </a:extLst>
          </p:cNvPr>
          <p:cNvGraphicFramePr/>
          <p:nvPr userDrawn="1"/>
        </p:nvGraphicFramePr>
        <p:xfrm>
          <a:off x="279036" y="1321782"/>
          <a:ext cx="11656060" cy="4623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62">
            <a:extLst>
              <a:ext uri="{FF2B5EF4-FFF2-40B4-BE49-F238E27FC236}">
                <a16:creationId xmlns:a16="http://schemas.microsoft.com/office/drawing/2014/main" id="{1D3688BC-A29F-4FC4-A11A-398FE4188E1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76204199"/>
              </p:ext>
            </p:extLst>
          </p:nvPr>
        </p:nvGraphicFramePr>
        <p:xfrm>
          <a:off x="278274" y="1348840"/>
          <a:ext cx="11624275" cy="471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D8F5593-453E-4297-89C3-AF572A2F008F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5189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6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6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6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6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6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6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6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6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6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6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6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6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6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6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6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6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6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6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6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6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500"/>
                            </p:stCondLst>
                            <p:childTnLst>
                              <p:par>
                                <p:cTn id="10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7" dur="300"/>
                                        <p:tgtEl>
                                          <p:spTgt spid="6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  <p:bldGraphic spid="6" grpId="0">
        <p:bldSub>
          <a:bldChart bld="category"/>
        </p:bldSub>
      </p:bldGraphic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A1B31BE-8F00-4FD0-B83D-49F14B7AAC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graphicFrame>
        <p:nvGraphicFramePr>
          <p:cNvPr id="3" name="Chart 62">
            <a:extLst>
              <a:ext uri="{FF2B5EF4-FFF2-40B4-BE49-F238E27FC236}">
                <a16:creationId xmlns:a16="http://schemas.microsoft.com/office/drawing/2014/main" id="{ACF06B11-18F4-4720-A183-165C1FB85F61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737926873"/>
              </p:ext>
            </p:extLst>
          </p:nvPr>
        </p:nvGraphicFramePr>
        <p:xfrm>
          <a:off x="279036" y="1219353"/>
          <a:ext cx="11656060" cy="4735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05BBD0-4E77-4901-8F9B-5C34F6E0468A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1281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300"/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"/>
                            </p:stCondLst>
                            <p:childTnLst>
                              <p:par>
                                <p:cTn id="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300"/>
                                        <p:tgtEl>
                                          <p:spTgt spid="3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600"/>
                            </p:stCondLst>
                            <p:childTnLst>
                              <p:par>
                                <p:cTn id="1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300"/>
                                        <p:tgtEl>
                                          <p:spTgt spid="3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900"/>
                            </p:stCondLst>
                            <p:childTnLst>
                              <p:par>
                                <p:cTn id="1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300"/>
                                        <p:tgtEl>
                                          <p:spTgt spid="3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200"/>
                            </p:stCondLst>
                            <p:childTnLst>
                              <p:par>
                                <p:cTn id="2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300"/>
                                        <p:tgtEl>
                                          <p:spTgt spid="3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300"/>
                                        <p:tgtEl>
                                          <p:spTgt spid="3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800"/>
                            </p:stCondLst>
                            <p:childTnLst>
                              <p:par>
                                <p:cTn id="2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300"/>
                                        <p:tgtEl>
                                          <p:spTgt spid="3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100"/>
                            </p:stCondLst>
                            <p:childTnLst>
                              <p:par>
                                <p:cTn id="3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300"/>
                                        <p:tgtEl>
                                          <p:spTgt spid="3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400"/>
                            </p:stCondLst>
                            <p:childTnLst>
                              <p:par>
                                <p:cTn id="3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300"/>
                                        <p:tgtEl>
                                          <p:spTgt spid="3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00"/>
                            </p:stCondLst>
                            <p:childTnLst>
                              <p:par>
                                <p:cTn id="4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300"/>
                                        <p:tgtEl>
                                          <p:spTgt spid="3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000"/>
                            </p:stCondLst>
                            <p:childTnLst>
                              <p:par>
                                <p:cTn id="4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300"/>
                                        <p:tgtEl>
                                          <p:spTgt spid="3">
                                            <p:graphicEl>
                                              <a:chart seriesIdx="-4" categoryIdx="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300"/>
                            </p:stCondLst>
                            <p:childTnLst>
                              <p:par>
                                <p:cTn id="4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300"/>
                                        <p:tgtEl>
                                          <p:spTgt spid="3">
                                            <p:graphicEl>
                                              <a:chart seriesIdx="-4" categoryIdx="1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600"/>
                            </p:stCondLst>
                            <p:childTnLst>
                              <p:par>
                                <p:cTn id="5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300"/>
                                        <p:tgtEl>
                                          <p:spTgt spid="3">
                                            <p:graphicEl>
                                              <a:chart seriesIdx="-4" categoryIdx="1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900"/>
                            </p:stCondLst>
                            <p:childTnLst>
                              <p:par>
                                <p:cTn id="5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300"/>
                                        <p:tgtEl>
                                          <p:spTgt spid="3">
                                            <p:graphicEl>
                                              <a:chart seriesIdx="-4" categoryIdx="1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200"/>
                            </p:stCondLst>
                            <p:childTnLst>
                              <p:par>
                                <p:cTn id="6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300"/>
                                        <p:tgtEl>
                                          <p:spTgt spid="3">
                                            <p:graphicEl>
                                              <a:chart seriesIdx="-4" categoryIdx="1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500"/>
                            </p:stCondLst>
                            <p:childTnLst>
                              <p:par>
                                <p:cTn id="6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300"/>
                                        <p:tgtEl>
                                          <p:spTgt spid="3">
                                            <p:graphicEl>
                                              <a:chart seriesIdx="-4" categoryIdx="1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800"/>
                            </p:stCondLst>
                            <p:childTnLst>
                              <p:par>
                                <p:cTn id="6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300"/>
                                        <p:tgtEl>
                                          <p:spTgt spid="3">
                                            <p:graphicEl>
                                              <a:chart seriesIdx="-4" categoryIdx="1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100"/>
                            </p:stCondLst>
                            <p:childTnLst>
                              <p:par>
                                <p:cTn id="7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5" dur="300"/>
                                        <p:tgtEl>
                                          <p:spTgt spid="3">
                                            <p:graphicEl>
                                              <a:chart seriesIdx="-4" categoryIdx="1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400"/>
                            </p:stCondLst>
                            <p:childTnLst>
                              <p:par>
                                <p:cTn id="7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300"/>
                                        <p:tgtEl>
                                          <p:spTgt spid="3">
                                            <p:graphicEl>
                                              <a:chart seriesIdx="-4" categoryIdx="1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700"/>
                            </p:stCondLst>
                            <p:childTnLst>
                              <p:par>
                                <p:cTn id="8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300"/>
                                        <p:tgtEl>
                                          <p:spTgt spid="3">
                                            <p:graphicEl>
                                              <a:chart seriesIdx="-4" categoryIdx="1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6000"/>
                            </p:stCondLst>
                            <p:childTnLst>
                              <p:par>
                                <p:cTn id="85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300"/>
                                        <p:tgtEl>
                                          <p:spTgt spid="3">
                                            <p:graphicEl>
                                              <a:chart seriesIdx="-4" categoryIdx="19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300"/>
                            </p:stCondLst>
                            <p:childTnLst>
                              <p:par>
                                <p:cTn id="89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1" dur="300"/>
                                        <p:tgtEl>
                                          <p:spTgt spid="3">
                                            <p:graphicEl>
                                              <a:chart seriesIdx="-4" categoryIdx="2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6600"/>
                            </p:stCondLst>
                            <p:childTnLst>
                              <p:par>
                                <p:cTn id="93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5" dur="300"/>
                                        <p:tgtEl>
                                          <p:spTgt spid="3">
                                            <p:graphicEl>
                                              <a:chart seriesIdx="-4" categoryIdx="2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900"/>
                            </p:stCondLst>
                            <p:childTnLst>
                              <p:par>
                                <p:cTn id="97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300"/>
                                        <p:tgtEl>
                                          <p:spTgt spid="3">
                                            <p:graphicEl>
                                              <a:chart seriesIdx="-4" categoryIdx="2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7200"/>
                            </p:stCondLst>
                            <p:childTnLst>
                              <p:par>
                                <p:cTn id="101" presetID="22" presetClass="entr" presetSubtype="4" repeatCount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300"/>
                                        <p:tgtEl>
                                          <p:spTgt spid="3">
                                            <p:graphicEl>
                                              <a:chart seriesIdx="-4" categoryIdx="2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category"/>
        </p:bldSub>
      </p:bldGraphic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5">
            <a:extLst>
              <a:ext uri="{FF2B5EF4-FFF2-40B4-BE49-F238E27FC236}">
                <a16:creationId xmlns:a16="http://schemas.microsoft.com/office/drawing/2014/main" id="{F49FFC1C-3741-4844-8C3F-E4F557524424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5" name="Rectangle 36" hidden="1">
              <a:extLst>
                <a:ext uri="{FF2B5EF4-FFF2-40B4-BE49-F238E27FC236}">
                  <a16:creationId xmlns:a16="http://schemas.microsoft.com/office/drawing/2014/main" id="{0BD74276-8ED2-4824-9998-0BAA3955CD95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6" name="Group 37" hidden="1">
              <a:extLst>
                <a:ext uri="{FF2B5EF4-FFF2-40B4-BE49-F238E27FC236}">
                  <a16:creationId xmlns:a16="http://schemas.microsoft.com/office/drawing/2014/main" id="{978F2107-068F-4327-9136-6EB3073A4403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7" name="Straight Connector 38">
                <a:extLst>
                  <a:ext uri="{FF2B5EF4-FFF2-40B4-BE49-F238E27FC236}">
                    <a16:creationId xmlns:a16="http://schemas.microsoft.com/office/drawing/2014/main" id="{B5909EFF-FFE7-4DCA-BB35-2930538F8575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Straight Connector 39">
                <a:extLst>
                  <a:ext uri="{FF2B5EF4-FFF2-40B4-BE49-F238E27FC236}">
                    <a16:creationId xmlns:a16="http://schemas.microsoft.com/office/drawing/2014/main" id="{BBF66BD5-8EBB-4321-AEA7-778A769BCD0F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40">
                <a:extLst>
                  <a:ext uri="{FF2B5EF4-FFF2-40B4-BE49-F238E27FC236}">
                    <a16:creationId xmlns:a16="http://schemas.microsoft.com/office/drawing/2014/main" id="{B6105F55-6F73-4EAC-A6FE-341C1EDD082D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1">
                <a:extLst>
                  <a:ext uri="{FF2B5EF4-FFF2-40B4-BE49-F238E27FC236}">
                    <a16:creationId xmlns:a16="http://schemas.microsoft.com/office/drawing/2014/main" id="{231C4A1D-0D18-4C45-8CD2-9B482D211697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2">
                <a:extLst>
                  <a:ext uri="{FF2B5EF4-FFF2-40B4-BE49-F238E27FC236}">
                    <a16:creationId xmlns:a16="http://schemas.microsoft.com/office/drawing/2014/main" id="{887B699A-26D9-4993-847C-C919922EE7EC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3">
                <a:extLst>
                  <a:ext uri="{FF2B5EF4-FFF2-40B4-BE49-F238E27FC236}">
                    <a16:creationId xmlns:a16="http://schemas.microsoft.com/office/drawing/2014/main" id="{2861B340-F5C1-4BA1-BA98-8D650473066B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4">
                <a:extLst>
                  <a:ext uri="{FF2B5EF4-FFF2-40B4-BE49-F238E27FC236}">
                    <a16:creationId xmlns:a16="http://schemas.microsoft.com/office/drawing/2014/main" id="{C3568F9F-131F-4452-A304-F5E5399BCD8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5">
                <a:extLst>
                  <a:ext uri="{FF2B5EF4-FFF2-40B4-BE49-F238E27FC236}">
                    <a16:creationId xmlns:a16="http://schemas.microsoft.com/office/drawing/2014/main" id="{CF836D01-B716-45B7-86B0-7412F0310BC3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6">
                <a:extLst>
                  <a:ext uri="{FF2B5EF4-FFF2-40B4-BE49-F238E27FC236}">
                    <a16:creationId xmlns:a16="http://schemas.microsoft.com/office/drawing/2014/main" id="{456D7560-3022-407D-A56A-387D1CF7CBBE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7">
                <a:extLst>
                  <a:ext uri="{FF2B5EF4-FFF2-40B4-BE49-F238E27FC236}">
                    <a16:creationId xmlns:a16="http://schemas.microsoft.com/office/drawing/2014/main" id="{C7A0A529-063D-45DD-8385-C74DBDC59E7E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8">
                <a:extLst>
                  <a:ext uri="{FF2B5EF4-FFF2-40B4-BE49-F238E27FC236}">
                    <a16:creationId xmlns:a16="http://schemas.microsoft.com/office/drawing/2014/main" id="{A931E34D-B55F-40AD-83AF-7163B7D714F7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9">
                <a:extLst>
                  <a:ext uri="{FF2B5EF4-FFF2-40B4-BE49-F238E27FC236}">
                    <a16:creationId xmlns:a16="http://schemas.microsoft.com/office/drawing/2014/main" id="{85C0AB43-36CD-4E1C-BBD6-F6E40C7E2D07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50">
                <a:extLst>
                  <a:ext uri="{FF2B5EF4-FFF2-40B4-BE49-F238E27FC236}">
                    <a16:creationId xmlns:a16="http://schemas.microsoft.com/office/drawing/2014/main" id="{78CD91FC-28C9-4AC7-87D2-3236ADA79432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1">
                <a:extLst>
                  <a:ext uri="{FF2B5EF4-FFF2-40B4-BE49-F238E27FC236}">
                    <a16:creationId xmlns:a16="http://schemas.microsoft.com/office/drawing/2014/main" id="{43CC5094-48A5-4786-A10E-9CE8FDA8F34F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2">
                <a:extLst>
                  <a:ext uri="{FF2B5EF4-FFF2-40B4-BE49-F238E27FC236}">
                    <a16:creationId xmlns:a16="http://schemas.microsoft.com/office/drawing/2014/main" id="{B1CF75A4-9F1F-48F6-AFDA-C7897F2C1B55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3">
                <a:extLst>
                  <a:ext uri="{FF2B5EF4-FFF2-40B4-BE49-F238E27FC236}">
                    <a16:creationId xmlns:a16="http://schemas.microsoft.com/office/drawing/2014/main" id="{D8B3EC32-3BCC-4CF3-A8AB-D5695C387FB1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4">
                <a:extLst>
                  <a:ext uri="{FF2B5EF4-FFF2-40B4-BE49-F238E27FC236}">
                    <a16:creationId xmlns:a16="http://schemas.microsoft.com/office/drawing/2014/main" id="{646D2636-826F-4188-AECD-8E9F547C330E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5">
                <a:extLst>
                  <a:ext uri="{FF2B5EF4-FFF2-40B4-BE49-F238E27FC236}">
                    <a16:creationId xmlns:a16="http://schemas.microsoft.com/office/drawing/2014/main" id="{D5190618-4665-4F2E-8844-020AD30239F6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6">
                <a:extLst>
                  <a:ext uri="{FF2B5EF4-FFF2-40B4-BE49-F238E27FC236}">
                    <a16:creationId xmlns:a16="http://schemas.microsoft.com/office/drawing/2014/main" id="{E501E497-7672-440E-967B-911C1D6B4B10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7">
                <a:extLst>
                  <a:ext uri="{FF2B5EF4-FFF2-40B4-BE49-F238E27FC236}">
                    <a16:creationId xmlns:a16="http://schemas.microsoft.com/office/drawing/2014/main" id="{8A688C29-83E0-4CC9-A8C5-B6B30A57710C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8">
                <a:extLst>
                  <a:ext uri="{FF2B5EF4-FFF2-40B4-BE49-F238E27FC236}">
                    <a16:creationId xmlns:a16="http://schemas.microsoft.com/office/drawing/2014/main" id="{8D3348AE-2C08-472A-92E4-12BF79B738D1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9">
                <a:extLst>
                  <a:ext uri="{FF2B5EF4-FFF2-40B4-BE49-F238E27FC236}">
                    <a16:creationId xmlns:a16="http://schemas.microsoft.com/office/drawing/2014/main" id="{D93531AE-9D57-49CA-BC46-F7384685F786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60">
                <a:extLst>
                  <a:ext uri="{FF2B5EF4-FFF2-40B4-BE49-F238E27FC236}">
                    <a16:creationId xmlns:a16="http://schemas.microsoft.com/office/drawing/2014/main" id="{6130565B-76F2-434C-8896-54E337D6B462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1">
                <a:extLst>
                  <a:ext uri="{FF2B5EF4-FFF2-40B4-BE49-F238E27FC236}">
                    <a16:creationId xmlns:a16="http://schemas.microsoft.com/office/drawing/2014/main" id="{A0D45B84-40CC-46CF-ACE4-C3A1732817B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07D574C9-96B2-42EF-A9BC-D62E458D5C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009754-3A1E-461E-B289-FE7FC85C2E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2354733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5">
            <a:extLst>
              <a:ext uri="{FF2B5EF4-FFF2-40B4-BE49-F238E27FC236}">
                <a16:creationId xmlns:a16="http://schemas.microsoft.com/office/drawing/2014/main" id="{15C1165B-50AC-46F5-B945-37FE6AF1F392}"/>
              </a:ext>
            </a:extLst>
          </p:cNvPr>
          <p:cNvGrpSpPr/>
          <p:nvPr userDrawn="1"/>
        </p:nvGrpSpPr>
        <p:grpSpPr>
          <a:xfrm>
            <a:off x="-6583" y="-3"/>
            <a:ext cx="12302859" cy="6858003"/>
            <a:chOff x="-6566" y="-2"/>
            <a:chExt cx="12269309" cy="6858002"/>
          </a:xfrm>
        </p:grpSpPr>
        <p:sp>
          <p:nvSpPr>
            <p:cNvPr id="6" name="Rectangle 36" hidden="1">
              <a:extLst>
                <a:ext uri="{FF2B5EF4-FFF2-40B4-BE49-F238E27FC236}">
                  <a16:creationId xmlns:a16="http://schemas.microsoft.com/office/drawing/2014/main" id="{EA24BE63-1E38-4FA8-B27E-7568D000D456}"/>
                </a:ext>
              </a:extLst>
            </p:cNvPr>
            <p:cNvSpPr/>
            <p:nvPr userDrawn="1"/>
          </p:nvSpPr>
          <p:spPr>
            <a:xfrm>
              <a:off x="-6566" y="-2"/>
              <a:ext cx="12198565" cy="6858002"/>
            </a:xfrm>
            <a:prstGeom prst="rect">
              <a:avLst/>
            </a:prstGeom>
            <a:solidFill>
              <a:srgbClr val="00324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02"/>
            </a:p>
          </p:txBody>
        </p:sp>
        <p:grpSp>
          <p:nvGrpSpPr>
            <p:cNvPr id="7" name="Group 37" hidden="1">
              <a:extLst>
                <a:ext uri="{FF2B5EF4-FFF2-40B4-BE49-F238E27FC236}">
                  <a16:creationId xmlns:a16="http://schemas.microsoft.com/office/drawing/2014/main" id="{D4DAB8E7-6AD7-4E3B-87D7-9C92D704A0D5}"/>
                </a:ext>
              </a:extLst>
            </p:cNvPr>
            <p:cNvGrpSpPr/>
            <p:nvPr userDrawn="1"/>
          </p:nvGrpSpPr>
          <p:grpSpPr>
            <a:xfrm>
              <a:off x="442260" y="3456849"/>
              <a:ext cx="11820483" cy="2970388"/>
              <a:chOff x="442260" y="3600153"/>
              <a:chExt cx="11820483" cy="2970388"/>
            </a:xfrm>
          </p:grpSpPr>
          <p:cxnSp>
            <p:nvCxnSpPr>
              <p:cNvPr id="8" name="Straight Connector 38">
                <a:extLst>
                  <a:ext uri="{FF2B5EF4-FFF2-40B4-BE49-F238E27FC236}">
                    <a16:creationId xmlns:a16="http://schemas.microsoft.com/office/drawing/2014/main" id="{0F24E6D8-B4AC-477C-A584-BF9803AD059A}"/>
                  </a:ext>
                </a:extLst>
              </p:cNvPr>
              <p:cNvCxnSpPr/>
              <p:nvPr userDrawn="1"/>
            </p:nvCxnSpPr>
            <p:spPr>
              <a:xfrm flipV="1">
                <a:off x="930228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39">
                <a:extLst>
                  <a:ext uri="{FF2B5EF4-FFF2-40B4-BE49-F238E27FC236}">
                    <a16:creationId xmlns:a16="http://schemas.microsoft.com/office/drawing/2014/main" id="{2AFEE107-23D8-49B8-B87B-287A589B06A3}"/>
                  </a:ext>
                </a:extLst>
              </p:cNvPr>
              <p:cNvCxnSpPr/>
              <p:nvPr userDrawn="1"/>
            </p:nvCxnSpPr>
            <p:spPr>
              <a:xfrm flipV="1">
                <a:off x="877305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Straight Connector 40">
                <a:extLst>
                  <a:ext uri="{FF2B5EF4-FFF2-40B4-BE49-F238E27FC236}">
                    <a16:creationId xmlns:a16="http://schemas.microsoft.com/office/drawing/2014/main" id="{FC46F22B-8D16-44B9-B078-5202FAD5506C}"/>
                  </a:ext>
                </a:extLst>
              </p:cNvPr>
              <p:cNvCxnSpPr/>
              <p:nvPr userDrawn="1"/>
            </p:nvCxnSpPr>
            <p:spPr>
              <a:xfrm flipV="1">
                <a:off x="8235524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41">
                <a:extLst>
                  <a:ext uri="{FF2B5EF4-FFF2-40B4-BE49-F238E27FC236}">
                    <a16:creationId xmlns:a16="http://schemas.microsoft.com/office/drawing/2014/main" id="{84F40097-447D-4345-A231-8E06B5113DAF}"/>
                  </a:ext>
                </a:extLst>
              </p:cNvPr>
              <p:cNvCxnSpPr/>
              <p:nvPr userDrawn="1"/>
            </p:nvCxnSpPr>
            <p:spPr>
              <a:xfrm flipV="1">
                <a:off x="78660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Straight Connector 42">
                <a:extLst>
                  <a:ext uri="{FF2B5EF4-FFF2-40B4-BE49-F238E27FC236}">
                    <a16:creationId xmlns:a16="http://schemas.microsoft.com/office/drawing/2014/main" id="{42254BF6-C2FE-484E-B8E5-A5FB6CAE68DA}"/>
                  </a:ext>
                </a:extLst>
              </p:cNvPr>
              <p:cNvCxnSpPr/>
              <p:nvPr userDrawn="1"/>
            </p:nvCxnSpPr>
            <p:spPr>
              <a:xfrm flipV="1">
                <a:off x="7498863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43">
                <a:extLst>
                  <a:ext uri="{FF2B5EF4-FFF2-40B4-BE49-F238E27FC236}">
                    <a16:creationId xmlns:a16="http://schemas.microsoft.com/office/drawing/2014/main" id="{E5B7F90F-FC2C-4515-8D32-89F631EBA147}"/>
                  </a:ext>
                </a:extLst>
              </p:cNvPr>
              <p:cNvCxnSpPr/>
              <p:nvPr userDrawn="1"/>
            </p:nvCxnSpPr>
            <p:spPr>
              <a:xfrm flipV="1">
                <a:off x="7127208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44">
                <a:extLst>
                  <a:ext uri="{FF2B5EF4-FFF2-40B4-BE49-F238E27FC236}">
                    <a16:creationId xmlns:a16="http://schemas.microsoft.com/office/drawing/2014/main" id="{E99345B2-5577-4798-8DBC-A8040E1C170C}"/>
                  </a:ext>
                </a:extLst>
              </p:cNvPr>
              <p:cNvCxnSpPr/>
              <p:nvPr userDrawn="1"/>
            </p:nvCxnSpPr>
            <p:spPr>
              <a:xfrm flipV="1">
                <a:off x="675865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45">
                <a:extLst>
                  <a:ext uri="{FF2B5EF4-FFF2-40B4-BE49-F238E27FC236}">
                    <a16:creationId xmlns:a16="http://schemas.microsoft.com/office/drawing/2014/main" id="{F327189C-9AB2-4BE4-BEFF-13F4E1778D06}"/>
                  </a:ext>
                </a:extLst>
              </p:cNvPr>
              <p:cNvCxnSpPr/>
              <p:nvPr userDrawn="1"/>
            </p:nvCxnSpPr>
            <p:spPr>
              <a:xfrm flipV="1">
                <a:off x="638946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46">
                <a:extLst>
                  <a:ext uri="{FF2B5EF4-FFF2-40B4-BE49-F238E27FC236}">
                    <a16:creationId xmlns:a16="http://schemas.microsoft.com/office/drawing/2014/main" id="{7F11114A-60DF-4358-A694-BB4FEEA2A6C7}"/>
                  </a:ext>
                </a:extLst>
              </p:cNvPr>
              <p:cNvCxnSpPr/>
              <p:nvPr userDrawn="1"/>
            </p:nvCxnSpPr>
            <p:spPr>
              <a:xfrm flipV="1">
                <a:off x="6009868" y="3607282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47">
                <a:extLst>
                  <a:ext uri="{FF2B5EF4-FFF2-40B4-BE49-F238E27FC236}">
                    <a16:creationId xmlns:a16="http://schemas.microsoft.com/office/drawing/2014/main" id="{A23FCE7B-565B-4C89-BB57-1638682A4280}"/>
                  </a:ext>
                </a:extLst>
              </p:cNvPr>
              <p:cNvCxnSpPr/>
              <p:nvPr userDrawn="1"/>
            </p:nvCxnSpPr>
            <p:spPr>
              <a:xfrm flipV="1">
                <a:off x="56439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48">
                <a:extLst>
                  <a:ext uri="{FF2B5EF4-FFF2-40B4-BE49-F238E27FC236}">
                    <a16:creationId xmlns:a16="http://schemas.microsoft.com/office/drawing/2014/main" id="{0E2613AD-9079-429A-BC7D-F00A04FEFC83}"/>
                  </a:ext>
                </a:extLst>
              </p:cNvPr>
              <p:cNvCxnSpPr/>
              <p:nvPr userDrawn="1"/>
            </p:nvCxnSpPr>
            <p:spPr>
              <a:xfrm flipV="1">
                <a:off x="5269261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49">
                <a:extLst>
                  <a:ext uri="{FF2B5EF4-FFF2-40B4-BE49-F238E27FC236}">
                    <a16:creationId xmlns:a16="http://schemas.microsoft.com/office/drawing/2014/main" id="{D8432CDA-98D7-4A05-A0F3-EDA2D11BC74F}"/>
                  </a:ext>
                </a:extLst>
              </p:cNvPr>
              <p:cNvCxnSpPr/>
              <p:nvPr userDrawn="1"/>
            </p:nvCxnSpPr>
            <p:spPr>
              <a:xfrm flipV="1">
                <a:off x="48896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0">
                <a:extLst>
                  <a:ext uri="{FF2B5EF4-FFF2-40B4-BE49-F238E27FC236}">
                    <a16:creationId xmlns:a16="http://schemas.microsoft.com/office/drawing/2014/main" id="{9E761685-9937-4475-8FEE-7B969A517733}"/>
                  </a:ext>
                </a:extLst>
              </p:cNvPr>
              <p:cNvCxnSpPr/>
              <p:nvPr userDrawn="1"/>
            </p:nvCxnSpPr>
            <p:spPr>
              <a:xfrm flipV="1">
                <a:off x="452332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1">
                <a:extLst>
                  <a:ext uri="{FF2B5EF4-FFF2-40B4-BE49-F238E27FC236}">
                    <a16:creationId xmlns:a16="http://schemas.microsoft.com/office/drawing/2014/main" id="{504C3711-C622-42DC-9899-B3858E082F8D}"/>
                  </a:ext>
                </a:extLst>
              </p:cNvPr>
              <p:cNvCxnSpPr/>
              <p:nvPr userDrawn="1"/>
            </p:nvCxnSpPr>
            <p:spPr>
              <a:xfrm flipV="1">
                <a:off x="415592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52">
                <a:extLst>
                  <a:ext uri="{FF2B5EF4-FFF2-40B4-BE49-F238E27FC236}">
                    <a16:creationId xmlns:a16="http://schemas.microsoft.com/office/drawing/2014/main" id="{1A83ECB3-AA6D-4F83-A917-59F1F3CAF53A}"/>
                  </a:ext>
                </a:extLst>
              </p:cNvPr>
              <p:cNvCxnSpPr/>
              <p:nvPr userDrawn="1"/>
            </p:nvCxnSpPr>
            <p:spPr>
              <a:xfrm flipV="1">
                <a:off x="3786582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53">
                <a:extLst>
                  <a:ext uri="{FF2B5EF4-FFF2-40B4-BE49-F238E27FC236}">
                    <a16:creationId xmlns:a16="http://schemas.microsoft.com/office/drawing/2014/main" id="{3375B322-614F-48CD-9559-DDABC5D9313C}"/>
                  </a:ext>
                </a:extLst>
              </p:cNvPr>
              <p:cNvCxnSpPr/>
              <p:nvPr userDrawn="1"/>
            </p:nvCxnSpPr>
            <p:spPr>
              <a:xfrm flipV="1">
                <a:off x="342049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54">
                <a:extLst>
                  <a:ext uri="{FF2B5EF4-FFF2-40B4-BE49-F238E27FC236}">
                    <a16:creationId xmlns:a16="http://schemas.microsoft.com/office/drawing/2014/main" id="{B19264DC-7279-4EAE-9B3E-6C1ADC0DB8DF}"/>
                  </a:ext>
                </a:extLst>
              </p:cNvPr>
              <p:cNvCxnSpPr/>
              <p:nvPr userDrawn="1"/>
            </p:nvCxnSpPr>
            <p:spPr>
              <a:xfrm flipV="1">
                <a:off x="305109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55">
                <a:extLst>
                  <a:ext uri="{FF2B5EF4-FFF2-40B4-BE49-F238E27FC236}">
                    <a16:creationId xmlns:a16="http://schemas.microsoft.com/office/drawing/2014/main" id="{785CCA65-BECC-4A15-B2F7-9CCF558B8165}"/>
                  </a:ext>
                </a:extLst>
              </p:cNvPr>
              <p:cNvCxnSpPr/>
              <p:nvPr userDrawn="1"/>
            </p:nvCxnSpPr>
            <p:spPr>
              <a:xfrm flipV="1">
                <a:off x="2674287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56">
                <a:extLst>
                  <a:ext uri="{FF2B5EF4-FFF2-40B4-BE49-F238E27FC236}">
                    <a16:creationId xmlns:a16="http://schemas.microsoft.com/office/drawing/2014/main" id="{7CC1776D-4ADE-4C0C-965F-79108AEEF1BC}"/>
                  </a:ext>
                </a:extLst>
              </p:cNvPr>
              <p:cNvCxnSpPr/>
              <p:nvPr userDrawn="1"/>
            </p:nvCxnSpPr>
            <p:spPr>
              <a:xfrm flipV="1">
                <a:off x="230853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57">
                <a:extLst>
                  <a:ext uri="{FF2B5EF4-FFF2-40B4-BE49-F238E27FC236}">
                    <a16:creationId xmlns:a16="http://schemas.microsoft.com/office/drawing/2014/main" id="{B55C28CF-9862-488A-8C81-3050036A705D}"/>
                  </a:ext>
                </a:extLst>
              </p:cNvPr>
              <p:cNvCxnSpPr/>
              <p:nvPr userDrawn="1"/>
            </p:nvCxnSpPr>
            <p:spPr>
              <a:xfrm flipV="1">
                <a:off x="193107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58">
                <a:extLst>
                  <a:ext uri="{FF2B5EF4-FFF2-40B4-BE49-F238E27FC236}">
                    <a16:creationId xmlns:a16="http://schemas.microsoft.com/office/drawing/2014/main" id="{21D5562D-7135-49BA-B33A-8426A8A0AD75}"/>
                  </a:ext>
                </a:extLst>
              </p:cNvPr>
              <p:cNvCxnSpPr/>
              <p:nvPr userDrawn="1"/>
            </p:nvCxnSpPr>
            <p:spPr>
              <a:xfrm flipV="1">
                <a:off x="1558445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59">
                <a:extLst>
                  <a:ext uri="{FF2B5EF4-FFF2-40B4-BE49-F238E27FC236}">
                    <a16:creationId xmlns:a16="http://schemas.microsoft.com/office/drawing/2014/main" id="{F39A28E8-9029-4984-AFC2-3FD4EEC51BA7}"/>
                  </a:ext>
                </a:extLst>
              </p:cNvPr>
              <p:cNvCxnSpPr/>
              <p:nvPr userDrawn="1"/>
            </p:nvCxnSpPr>
            <p:spPr>
              <a:xfrm flipV="1">
                <a:off x="1188389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60">
                <a:extLst>
                  <a:ext uri="{FF2B5EF4-FFF2-40B4-BE49-F238E27FC236}">
                    <a16:creationId xmlns:a16="http://schemas.microsoft.com/office/drawing/2014/main" id="{15D4F68C-30B2-45C2-BDD1-B6EBEE511F2B}"/>
                  </a:ext>
                </a:extLst>
              </p:cNvPr>
              <p:cNvCxnSpPr/>
              <p:nvPr userDrawn="1"/>
            </p:nvCxnSpPr>
            <p:spPr>
              <a:xfrm flipV="1">
                <a:off x="814086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61">
                <a:extLst>
                  <a:ext uri="{FF2B5EF4-FFF2-40B4-BE49-F238E27FC236}">
                    <a16:creationId xmlns:a16="http://schemas.microsoft.com/office/drawing/2014/main" id="{051ED23E-8584-4999-8EC5-84277C9290D3}"/>
                  </a:ext>
                </a:extLst>
              </p:cNvPr>
              <p:cNvCxnSpPr/>
              <p:nvPr userDrawn="1"/>
            </p:nvCxnSpPr>
            <p:spPr>
              <a:xfrm flipV="1">
                <a:off x="442260" y="3600153"/>
                <a:ext cx="2960458" cy="2963259"/>
              </a:xfrm>
              <a:prstGeom prst="line">
                <a:avLst/>
              </a:prstGeom>
              <a:ln w="1270">
                <a:gradFill>
                  <a:gsLst>
                    <a:gs pos="89000">
                      <a:srgbClr val="003249">
                        <a:alpha val="0"/>
                      </a:srgbClr>
                    </a:gs>
                    <a:gs pos="0">
                      <a:srgbClr val="335E6F"/>
                    </a:gs>
                  </a:gsLst>
                  <a:lin ang="2700000" scaled="0"/>
                </a:gra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olo 1">
            <a:extLst>
              <a:ext uri="{FF2B5EF4-FFF2-40B4-BE49-F238E27FC236}">
                <a16:creationId xmlns:a16="http://schemas.microsoft.com/office/drawing/2014/main" id="{94A4DDCC-9F42-4948-9645-E86435B98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06FD5EE-114E-4722-B4F2-F97B4E5BFF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8860" y="882000"/>
            <a:ext cx="11764800" cy="532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6A4415C-3223-40AA-9C39-316146802F95}"/>
              </a:ext>
            </a:extLst>
          </p:cNvPr>
          <p:cNvCxnSpPr/>
          <p:nvPr userDrawn="1"/>
        </p:nvCxnSpPr>
        <p:spPr>
          <a:xfrm>
            <a:off x="218262" y="882193"/>
            <a:ext cx="117684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4987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.emf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1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4.emf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532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3" name="Picture 35" hidden="1">
            <a:extLst>
              <a:ext uri="{FF2B5EF4-FFF2-40B4-BE49-F238E27FC236}">
                <a16:creationId xmlns:a16="http://schemas.microsoft.com/office/drawing/2014/main" id="{C995CFAD-3BA1-4EC9-867D-60423D76AD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5338" cy="6858000"/>
          </a:xfrm>
          <a:prstGeom prst="rect">
            <a:avLst/>
          </a:prstGeom>
        </p:spPr>
      </p:pic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altLang="en-US" noProof="0"/>
              <a:t>Click to edit Master title style</a:t>
            </a:r>
            <a:endParaRPr lang="en-GB" noProof="0"/>
          </a:p>
        </p:txBody>
      </p:sp>
      <p:sp>
        <p:nvSpPr>
          <p:cNvPr id="72" name="Rectangle 2">
            <a:extLst>
              <a:ext uri="{FF2B5EF4-FFF2-40B4-BE49-F238E27FC236}">
                <a16:creationId xmlns:a16="http://schemas.microsoft.com/office/drawing/2014/main" id="{F152A04D-5063-4E95-9CB5-5C50E37A6E5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ext styles</a:t>
            </a:r>
          </a:p>
          <a:p>
            <a:pPr lvl="1"/>
            <a:r>
              <a:rPr lang="en-US" altLang="en-US" noProof="0"/>
              <a:t>Second level</a:t>
            </a:r>
          </a:p>
          <a:p>
            <a:pPr lvl="2"/>
            <a:r>
              <a:rPr lang="en-US" altLang="en-US" noProof="0"/>
              <a:t>Third level</a:t>
            </a:r>
          </a:p>
          <a:p>
            <a:pPr lvl="3"/>
            <a:r>
              <a:rPr lang="en-US" altLang="en-US" noProof="0"/>
              <a:t>Fourth level</a:t>
            </a:r>
          </a:p>
          <a:p>
            <a:pPr lvl="4"/>
            <a:r>
              <a:rPr lang="en-US" altLang="en-US" noProof="0"/>
              <a:t>Fifth level</a:t>
            </a:r>
            <a:endParaRPr lang="en-GB" altLang="en-US" noProof="0"/>
          </a:p>
        </p:txBody>
      </p:sp>
      <p:sp>
        <p:nvSpPr>
          <p:cNvPr id="39" name="Text Box 34"/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6C34021B-66EB-9E45-8BD1-64D5855A5802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EE71E5B5-6921-4FB2-A9C4-9C2A029FF0B3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5">
            <a:extLst>
              <a:ext uri="{FF2B5EF4-FFF2-40B4-BE49-F238E27FC236}">
                <a16:creationId xmlns:a16="http://schemas.microsoft.com/office/drawing/2014/main" id="{7B88B654-6870-4EB8-A79A-306A0238640A}"/>
              </a:ext>
            </a:extLst>
          </p:cNvPr>
          <p:cNvPicPr>
            <a:picLocks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52225"/>
            <a:ext cx="9956800" cy="40513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45" r:id="rId2"/>
    <p:sldLayoutId id="2147483974" r:id="rId3"/>
    <p:sldLayoutId id="2147483975" r:id="rId4"/>
    <p:sldLayoutId id="2147483973" r:id="rId5"/>
    <p:sldLayoutId id="2147483930" r:id="rId6"/>
    <p:sldLayoutId id="2147483931" r:id="rId7"/>
    <p:sldLayoutId id="2147483932" r:id="rId8"/>
    <p:sldLayoutId id="2147483933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6" r:id="rId15"/>
    <p:sldLayoutId id="2147483947" r:id="rId16"/>
    <p:sldLayoutId id="2147483977" r:id="rId17"/>
    <p:sldLayoutId id="2147483981" r:id="rId18"/>
    <p:sldLayoutId id="2147483982" r:id="rId19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eaLnBrk="1" fontAlgn="base" hangingPunct="1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8132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35777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934216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510661" indent="0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sz="1800" dirty="0" smtClean="0">
          <a:solidFill>
            <a:srgbClr val="8197A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661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eaLnBrk="1" fontAlgn="base" hangingPunct="1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886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109A9530-2671-487F-A9F5-FDB35D172B87}"/>
              </a:ext>
            </a:extLst>
          </p:cNvPr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2800" y="6584400"/>
            <a:ext cx="1638000" cy="104400"/>
          </a:xfrm>
          <a:prstGeom prst="rect">
            <a:avLst/>
          </a:prstGeom>
        </p:spPr>
      </p:pic>
      <p:sp>
        <p:nvSpPr>
          <p:cNvPr id="3" name="Text Box 34">
            <a:extLst>
              <a:ext uri="{FF2B5EF4-FFF2-40B4-BE49-F238E27FC236}">
                <a16:creationId xmlns:a16="http://schemas.microsoft.com/office/drawing/2014/main" id="{174566EC-B884-414A-9831-F2C2C01CAF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68673324-7E47-2849-ABFE-CFCE924180D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489" y="-216085"/>
            <a:ext cx="2093892" cy="1314000"/>
          </a:xfrm>
          <a:prstGeom prst="rect">
            <a:avLst/>
          </a:prstGeom>
        </p:spPr>
      </p:pic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6E905FD-56C1-4FF6-A433-C72EFE86E9E9}"/>
              </a:ext>
            </a:extLst>
          </p:cNvPr>
          <p:cNvCxnSpPr>
            <a:cxnSpLocks/>
          </p:cNvCxnSpPr>
          <p:nvPr userDrawn="1"/>
        </p:nvCxnSpPr>
        <p:spPr>
          <a:xfrm>
            <a:off x="221435" y="6422971"/>
            <a:ext cx="11736000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467" y="6460601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798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1010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9600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67" name="Text Box DG">
            <a:extLst>
              <a:ext uri="{FF2B5EF4-FFF2-40B4-BE49-F238E27FC236}">
                <a16:creationId xmlns:a16="http://schemas.microsoft.com/office/drawing/2014/main" id="{041D4B4D-8C28-4798-BDA6-9AF59297F3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" name="Text Box 34">
            <a:extLst>
              <a:ext uri="{FF2B5EF4-FFF2-40B4-BE49-F238E27FC236}">
                <a16:creationId xmlns:a16="http://schemas.microsoft.com/office/drawing/2014/main" id="{06E20340-F309-4C15-A091-9346422556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AA5060D9-A09D-4130-9267-1E715CE49C5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4732B035-7DC9-457A-B11E-1F17E69F566A}"/>
              </a:ext>
            </a:extLst>
          </p:cNvPr>
          <p:cNvPicPr>
            <a:picLocks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467" y="6455517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391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72" r:id="rId7"/>
    <p:sldLayoutId id="2147483966" r:id="rId8"/>
    <p:sldLayoutId id="2147483967" r:id="rId9"/>
    <p:sldLayoutId id="2147483968" r:id="rId10"/>
    <p:sldLayoutId id="2147483969" r:id="rId11"/>
    <p:sldLayoutId id="2147483978" r:id="rId12"/>
    <p:sldLayoutId id="2147483979" r:id="rId13"/>
    <p:sldLayoutId id="2147483980" r:id="rId14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DG"/>
          <p:cNvSpPr txBox="1">
            <a:spLocks noChangeArrowheads="1"/>
          </p:cNvSpPr>
          <p:nvPr userDrawn="1"/>
        </p:nvSpPr>
        <p:spPr bwMode="auto">
          <a:xfrm>
            <a:off x="772995" y="447366"/>
            <a:ext cx="6706956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en-GB" sz="772" noProof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216000" y="154800"/>
            <a:ext cx="9748800" cy="56520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l" rtl="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noProof="0"/>
              <a:t>CLICK TO EDIT MASTER TITLE STYLE</a:t>
            </a:r>
            <a:endParaRPr lang="en-GB" noProof="0"/>
          </a:p>
        </p:txBody>
      </p:sp>
      <p:sp>
        <p:nvSpPr>
          <p:cNvPr id="14" name="Text Box 38"/>
          <p:cNvSpPr txBox="1">
            <a:spLocks noChangeArrowheads="1"/>
          </p:cNvSpPr>
          <p:nvPr userDrawn="1"/>
        </p:nvSpPr>
        <p:spPr bwMode="auto">
          <a:xfrm>
            <a:off x="221404" y="6202800"/>
            <a:ext cx="12118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en-GB" sz="800" noProof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cxnSp>
        <p:nvCxnSpPr>
          <p:cNvPr id="34" name="Straight Connector 64">
            <a:extLst>
              <a:ext uri="{FF2B5EF4-FFF2-40B4-BE49-F238E27FC236}">
                <a16:creationId xmlns:a16="http://schemas.microsoft.com/office/drawing/2014/main" id="{8F972EA9-1462-4B0E-A09A-25D9F39ABE44}"/>
              </a:ext>
            </a:extLst>
          </p:cNvPr>
          <p:cNvCxnSpPr>
            <a:cxnSpLocks/>
          </p:cNvCxnSpPr>
          <p:nvPr userDrawn="1"/>
        </p:nvCxnSpPr>
        <p:spPr>
          <a:xfrm>
            <a:off x="222041" y="6411947"/>
            <a:ext cx="11768092" cy="0"/>
          </a:xfrm>
          <a:prstGeom prst="line">
            <a:avLst/>
          </a:prstGeom>
          <a:ln w="9525" cmpd="sng">
            <a:solidFill>
              <a:schemeClr val="bg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5">
            <a:extLst>
              <a:ext uri="{FF2B5EF4-FFF2-40B4-BE49-F238E27FC236}">
                <a16:creationId xmlns:a16="http://schemas.microsoft.com/office/drawing/2014/main" id="{5217072E-26F2-4536-B7A4-4922A861EF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1529" y="6578011"/>
            <a:ext cx="1641396" cy="113828"/>
          </a:xfrm>
          <a:prstGeom prst="rect">
            <a:avLst/>
          </a:prstGeom>
        </p:spPr>
      </p:pic>
      <p:sp>
        <p:nvSpPr>
          <p:cNvPr id="63" name="Rectangle 2">
            <a:extLst>
              <a:ext uri="{FF2B5EF4-FFF2-40B4-BE49-F238E27FC236}">
                <a16:creationId xmlns:a16="http://schemas.microsoft.com/office/drawing/2014/main" id="{0341B57B-D657-44D2-A69B-8571F2FEB2F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218859" y="882000"/>
            <a:ext cx="11764800" cy="53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/>
              <a:t>Click to edit Master text styles</a:t>
            </a:r>
          </a:p>
          <a:p>
            <a:pPr lvl="1"/>
            <a:r>
              <a:rPr lang="en-GB" altLang="en-US" noProof="0"/>
              <a:t>Second level</a:t>
            </a:r>
          </a:p>
          <a:p>
            <a:pPr lvl="2"/>
            <a:r>
              <a:rPr lang="en-GB" altLang="en-US" noProof="0"/>
              <a:t>Third level</a:t>
            </a:r>
          </a:p>
          <a:p>
            <a:pPr lvl="3"/>
            <a:r>
              <a:rPr lang="en-GB" altLang="en-US" noProof="0"/>
              <a:t>Fourth level</a:t>
            </a:r>
          </a:p>
          <a:p>
            <a:pPr lvl="4"/>
            <a:r>
              <a:rPr lang="en-GB" altLang="en-US" noProof="0"/>
              <a:t>Fifth level</a:t>
            </a:r>
          </a:p>
        </p:txBody>
      </p:sp>
      <p:sp>
        <p:nvSpPr>
          <p:cNvPr id="5" name="Text Box 34">
            <a:extLst>
              <a:ext uri="{FF2B5EF4-FFF2-40B4-BE49-F238E27FC236}">
                <a16:creationId xmlns:a16="http://schemas.microsoft.com/office/drawing/2014/main" id="{3DFCB740-7646-4EBC-AD20-3EBB6A01A79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204400" y="6202800"/>
            <a:ext cx="37512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rIns="0">
            <a:spAutoFit/>
          </a:bodyPr>
          <a:lstStyle/>
          <a:p>
            <a:pPr algn="r">
              <a:spcBef>
                <a:spcPct val="50000"/>
              </a:spcBef>
            </a:pPr>
            <a:r>
              <a:rPr lang="it-IT" sz="800" noProof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fld id="{FDAC5C42-9B53-4063-AF51-A40D4C64F718}" type="slidenum">
              <a:rPr lang="it-IT" sz="800" noProof="1" smtClean="0">
                <a:solidFill>
                  <a:srgbClr val="8197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GB" sz="800" noProof="1">
              <a:solidFill>
                <a:srgbClr val="8197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CEC1D1E1-F167-4275-B0D3-2DDB714BE63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245" y="6585917"/>
            <a:ext cx="1636920" cy="105918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EE9226E0-2BA4-4DC2-994B-AD70CB993B22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1489" y="-215904"/>
            <a:ext cx="2095200" cy="13140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BB965BA-5FAA-5543-9444-B14F3D19DD2B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538" y="6462927"/>
            <a:ext cx="9956800" cy="40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336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</p:sldLayoutIdLst>
  <p:hf sldNum="0" hdr="0" dt="0"/>
  <p:txStyles>
    <p:titleStyle>
      <a:lvl1pPr algn="just" rtl="0" fontAlgn="base">
        <a:spcBef>
          <a:spcPct val="0"/>
        </a:spcBef>
        <a:spcAft>
          <a:spcPct val="0"/>
        </a:spcAft>
        <a:defRPr lang="en-GB" sz="3000" b="1" dirty="0" smtClean="0">
          <a:solidFill>
            <a:srgbClr val="003249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5pPr>
      <a:lvl6pPr marL="44101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6pPr>
      <a:lvl7pPr marL="88203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7pPr>
      <a:lvl8pPr marL="1323045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8pPr>
      <a:lvl9pPr marL="1764060" algn="l" rtl="0" fontAlgn="base">
        <a:spcBef>
          <a:spcPct val="0"/>
        </a:spcBef>
        <a:spcAft>
          <a:spcPct val="0"/>
        </a:spcAft>
        <a:defRPr sz="2122" b="1">
          <a:solidFill>
            <a:schemeClr val="bg1"/>
          </a:solidFill>
          <a:latin typeface="Verdana" pitchFamily="34" charset="0"/>
        </a:defRPr>
      </a:lvl9pPr>
    </p:titleStyle>
    <p:bodyStyle>
      <a:lvl1pPr marL="0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rgbClr val="8197A6"/>
        </a:buClr>
        <a:buFont typeface="Arial" panose="020B0604020202020204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78132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135777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1934216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US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4pPr>
      <a:lvl5pPr marL="2510661" indent="0" algn="l" rtl="0" eaLnBrk="0" fontAlgn="base" hangingPunct="0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None/>
        <a:defRPr lang="en-GB" altLang="en-US" sz="1800" dirty="0">
          <a:solidFill>
            <a:srgbClr val="8197A6"/>
          </a:solidFill>
          <a:latin typeface="Arial" charset="0"/>
          <a:ea typeface="MS PGothic" pitchFamily="34" charset="-128"/>
          <a:cs typeface="Arial" charset="0"/>
        </a:defRPr>
      </a:lvl5pPr>
      <a:lvl6pPr marL="335661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6pPr>
      <a:lvl7pPr marL="379763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7pPr>
      <a:lvl8pPr marL="4238645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8pPr>
      <a:lvl9pPr marL="4679660" indent="-404264" algn="l" rtl="0" fontAlgn="base">
        <a:lnSpc>
          <a:spcPct val="119000"/>
        </a:lnSpc>
        <a:spcBef>
          <a:spcPct val="20000"/>
        </a:spcBef>
        <a:spcAft>
          <a:spcPct val="0"/>
        </a:spcAft>
        <a:buClr>
          <a:schemeClr val="accent1"/>
        </a:buClr>
        <a:buFont typeface="Verdana" pitchFamily="34" charset="0"/>
        <a:buChar char="–"/>
        <a:defRPr sz="1543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1pPr>
      <a:lvl2pPr marL="44101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2pPr>
      <a:lvl3pPr marL="88203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4pPr>
      <a:lvl5pPr marL="1764060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5pPr>
      <a:lvl6pPr marL="220507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6pPr>
      <a:lvl7pPr marL="264609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7pPr>
      <a:lvl8pPr marL="3087106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8pPr>
      <a:lvl9pPr marL="3528121" algn="l" defTabSz="882030" rtl="0" eaLnBrk="1" latinLnBrk="0" hangingPunct="1">
        <a:defRPr sz="17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5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7.png"/><Relationship Id="rId3" Type="http://schemas.openxmlformats.org/officeDocument/2006/relationships/image" Target="../media/image71.png"/><Relationship Id="rId7" Type="http://schemas.openxmlformats.org/officeDocument/2006/relationships/image" Target="../media/image1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5.svg"/><Relationship Id="rId11" Type="http://schemas.openxmlformats.org/officeDocument/2006/relationships/image" Target="../media/image119.png"/><Relationship Id="rId5" Type="http://schemas.openxmlformats.org/officeDocument/2006/relationships/image" Target="../media/image114.png"/><Relationship Id="rId10" Type="http://schemas.openxmlformats.org/officeDocument/2006/relationships/image" Target="../media/image75.png"/><Relationship Id="rId4" Type="http://schemas.openxmlformats.org/officeDocument/2006/relationships/image" Target="../media/image113.png"/><Relationship Id="rId9" Type="http://schemas.openxmlformats.org/officeDocument/2006/relationships/image" Target="../media/image11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image" Target="../media/image130.pn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12" Type="http://schemas.openxmlformats.org/officeDocument/2006/relationships/image" Target="../media/image1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3.svg"/><Relationship Id="rId11" Type="http://schemas.openxmlformats.org/officeDocument/2006/relationships/image" Target="../media/image128.png"/><Relationship Id="rId5" Type="http://schemas.openxmlformats.org/officeDocument/2006/relationships/image" Target="../media/image122.png"/><Relationship Id="rId15" Type="http://schemas.openxmlformats.org/officeDocument/2006/relationships/image" Target="../media/image132.png"/><Relationship Id="rId10" Type="http://schemas.openxmlformats.org/officeDocument/2006/relationships/image" Target="../media/image127.png"/><Relationship Id="rId4" Type="http://schemas.openxmlformats.org/officeDocument/2006/relationships/image" Target="../media/image121.svg"/><Relationship Id="rId9" Type="http://schemas.openxmlformats.org/officeDocument/2006/relationships/image" Target="../media/image126.png"/><Relationship Id="rId14" Type="http://schemas.openxmlformats.org/officeDocument/2006/relationships/image" Target="../media/image13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png"/><Relationship Id="rId9" Type="http://schemas.openxmlformats.org/officeDocument/2006/relationships/image" Target="../media/image30.jpe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26" Type="http://schemas.openxmlformats.org/officeDocument/2006/relationships/image" Target="../media/image54.png"/><Relationship Id="rId3" Type="http://schemas.openxmlformats.org/officeDocument/2006/relationships/image" Target="../media/image31.jpeg"/><Relationship Id="rId21" Type="http://schemas.openxmlformats.org/officeDocument/2006/relationships/image" Target="../media/image49.png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5" Type="http://schemas.openxmlformats.org/officeDocument/2006/relationships/image" Target="../media/image53.png"/><Relationship Id="rId33" Type="http://schemas.openxmlformats.org/officeDocument/2006/relationships/image" Target="../media/image6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29" Type="http://schemas.openxmlformats.org/officeDocument/2006/relationships/image" Target="../media/image57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11" Type="http://schemas.openxmlformats.org/officeDocument/2006/relationships/image" Target="../media/image39.png"/><Relationship Id="rId24" Type="http://schemas.openxmlformats.org/officeDocument/2006/relationships/image" Target="../media/image52.png"/><Relationship Id="rId32" Type="http://schemas.openxmlformats.org/officeDocument/2006/relationships/image" Target="../media/image60.png"/><Relationship Id="rId5" Type="http://schemas.openxmlformats.org/officeDocument/2006/relationships/image" Target="../media/image33.png"/><Relationship Id="rId15" Type="http://schemas.openxmlformats.org/officeDocument/2006/relationships/image" Target="../media/image43.png"/><Relationship Id="rId23" Type="http://schemas.openxmlformats.org/officeDocument/2006/relationships/image" Target="../media/image51.png"/><Relationship Id="rId28" Type="http://schemas.openxmlformats.org/officeDocument/2006/relationships/image" Target="../media/image56.png"/><Relationship Id="rId10" Type="http://schemas.openxmlformats.org/officeDocument/2006/relationships/image" Target="../media/image38.png"/><Relationship Id="rId19" Type="http://schemas.openxmlformats.org/officeDocument/2006/relationships/image" Target="../media/image47.png"/><Relationship Id="rId31" Type="http://schemas.openxmlformats.org/officeDocument/2006/relationships/image" Target="../media/image59.png"/><Relationship Id="rId4" Type="http://schemas.openxmlformats.org/officeDocument/2006/relationships/image" Target="../media/image32.png"/><Relationship Id="rId9" Type="http://schemas.openxmlformats.org/officeDocument/2006/relationships/image" Target="../media/image37.png"/><Relationship Id="rId14" Type="http://schemas.openxmlformats.org/officeDocument/2006/relationships/image" Target="../media/image42.png"/><Relationship Id="rId22" Type="http://schemas.openxmlformats.org/officeDocument/2006/relationships/image" Target="../media/image50.png"/><Relationship Id="rId27" Type="http://schemas.openxmlformats.org/officeDocument/2006/relationships/image" Target="../media/image55.png"/><Relationship Id="rId30" Type="http://schemas.openxmlformats.org/officeDocument/2006/relationships/image" Target="../media/image58.png"/><Relationship Id="rId8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hyperlink" Target="https://eocat.esa.int/sec/#data-services-area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6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5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13" Type="http://schemas.openxmlformats.org/officeDocument/2006/relationships/image" Target="../media/image77.png"/><Relationship Id="rId18" Type="http://schemas.openxmlformats.org/officeDocument/2006/relationships/image" Target="../media/image82.sv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17" Type="http://schemas.openxmlformats.org/officeDocument/2006/relationships/image" Target="../media/image81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80.svg"/><Relationship Id="rId20" Type="http://schemas.openxmlformats.org/officeDocument/2006/relationships/image" Target="../media/image8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5" Type="http://schemas.openxmlformats.org/officeDocument/2006/relationships/image" Target="../media/image79.png"/><Relationship Id="rId10" Type="http://schemas.openxmlformats.org/officeDocument/2006/relationships/image" Target="../media/image74.png"/><Relationship Id="rId19" Type="http://schemas.openxmlformats.org/officeDocument/2006/relationships/image" Target="../media/image83.jpeg"/><Relationship Id="rId4" Type="http://schemas.openxmlformats.org/officeDocument/2006/relationships/image" Target="../media/image68.png"/><Relationship Id="rId9" Type="http://schemas.openxmlformats.org/officeDocument/2006/relationships/image" Target="../media/image73.png"/><Relationship Id="rId14" Type="http://schemas.openxmlformats.org/officeDocument/2006/relationships/image" Target="../media/image7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108.svg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107.png"/><Relationship Id="rId17" Type="http://schemas.openxmlformats.org/officeDocument/2006/relationships/image" Target="../media/image112.svg"/><Relationship Id="rId2" Type="http://schemas.openxmlformats.org/officeDocument/2006/relationships/diagramData" Target="../diagrams/data3.xml"/><Relationship Id="rId16" Type="http://schemas.openxmlformats.org/officeDocument/2006/relationships/image" Target="../media/image111.png"/><Relationship Id="rId1" Type="http://schemas.openxmlformats.org/officeDocument/2006/relationships/slideLayout" Target="../slideLayouts/slideLayout18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5" Type="http://schemas.openxmlformats.org/officeDocument/2006/relationships/image" Target="../media/image110.svg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Relationship Id="rId14" Type="http://schemas.openxmlformats.org/officeDocument/2006/relationships/image" Target="../media/image10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9"/>
          <p:cNvSpPr txBox="1">
            <a:spLocks noChangeArrowheads="1"/>
          </p:cNvSpPr>
          <p:nvPr/>
        </p:nvSpPr>
        <p:spPr bwMode="auto">
          <a:xfrm>
            <a:off x="125999" y="2806062"/>
            <a:ext cx="11913401" cy="1320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8202" tIns="44101" rIns="88202" bIns="44101" numCol="1" anchor="b" anchorCtr="0" compatLnSpc="1">
            <a:prstTxWarp prst="textNoShape">
              <a:avLst/>
            </a:prstTxWarp>
            <a:spAutoFit/>
          </a:bodyPr>
          <a:lstStyle/>
          <a:p>
            <a:pPr defTabSz="882030">
              <a:defRPr/>
            </a:pPr>
            <a:r>
              <a:rPr lang="en-GB" sz="40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ata Access evolution </a:t>
            </a:r>
          </a:p>
          <a:p>
            <a:pPr defTabSz="882030">
              <a:defRPr/>
            </a:pPr>
            <a:r>
              <a:rPr lang="en-GB" sz="4000" b="1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wards Collaborative Environment</a:t>
            </a:r>
          </a:p>
        </p:txBody>
      </p:sp>
      <p:sp>
        <p:nvSpPr>
          <p:cNvPr id="7" name="Text Box 24"/>
          <p:cNvSpPr txBox="1">
            <a:spLocks noChangeArrowheads="1"/>
          </p:cNvSpPr>
          <p:nvPr/>
        </p:nvSpPr>
        <p:spPr bwMode="auto">
          <a:xfrm>
            <a:off x="6915706" y="5224144"/>
            <a:ext cx="5123696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ts val="0"/>
              </a:spcBef>
            </a:pPr>
            <a:r>
              <a:rPr lang="it-IT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erto Alacevich, Mattia Stipa, Damiano Guerrucci</a:t>
            </a:r>
            <a:endParaRPr lang="en-GB" sz="12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Box 25"/>
          <p:cNvSpPr txBox="1">
            <a:spLocks noChangeArrowheads="1"/>
          </p:cNvSpPr>
          <p:nvPr/>
        </p:nvSpPr>
        <p:spPr bwMode="auto">
          <a:xfrm>
            <a:off x="6915681" y="5885467"/>
            <a:ext cx="5123720" cy="461665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OS WGISS-56</a:t>
            </a:r>
          </a:p>
          <a:p>
            <a:pPr algn="r">
              <a:spcBef>
                <a:spcPts val="0"/>
              </a:spcBef>
            </a:pPr>
            <a:r>
              <a:rPr lang="en-GB"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/10/2023</a:t>
            </a:r>
          </a:p>
        </p:txBody>
      </p:sp>
      <p:sp>
        <p:nvSpPr>
          <p:cNvPr id="2" name="Text Box 99">
            <a:extLst>
              <a:ext uri="{FF2B5EF4-FFF2-40B4-BE49-F238E27FC236}">
                <a16:creationId xmlns:a16="http://schemas.microsoft.com/office/drawing/2014/main" id="{B06A49EE-0921-4A0E-99D9-29F5A2AC6E1F}"/>
              </a:ext>
            </a:extLst>
          </p:cNvPr>
          <p:cNvSpPr/>
          <p:nvPr/>
        </p:nvSpPr>
        <p:spPr>
          <a:xfrm>
            <a:off x="7288567" y="5590659"/>
            <a:ext cx="4750834" cy="217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GB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allAtOnce"/>
      <p:bldP spid="8" grpId="0" build="allAtOnce"/>
      <p:bldP spid="2" grpId="0" build="allAtOnce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B7519-956E-9FB5-C1F8-4AA8C6B860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54800"/>
            <a:ext cx="10108800" cy="565200"/>
          </a:xfrm>
        </p:spPr>
        <p:txBody>
          <a:bodyPr wrap="square" anchor="ctr">
            <a:normAutofit/>
          </a:bodyPr>
          <a:lstStyle/>
          <a:p>
            <a:r>
              <a:rPr lang="en-GB"/>
              <a:t>Demonstrators – Status Overview</a:t>
            </a: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AC0E6B32-FBF6-F436-C0C2-54DF73BB1F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4832496"/>
              </p:ext>
            </p:extLst>
          </p:nvPr>
        </p:nvGraphicFramePr>
        <p:xfrm>
          <a:off x="137535" y="673661"/>
          <a:ext cx="11764800" cy="41166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EDB6074D-0B42-F80C-CBD7-AE7A7775E3E0}"/>
              </a:ext>
            </a:extLst>
          </p:cNvPr>
          <p:cNvGrpSpPr/>
          <p:nvPr/>
        </p:nvGrpSpPr>
        <p:grpSpPr>
          <a:xfrm>
            <a:off x="2472696" y="4113620"/>
            <a:ext cx="2292999" cy="359861"/>
            <a:chOff x="9933" y="51755"/>
            <a:chExt cx="2395999" cy="718799"/>
          </a:xfrm>
        </p:grpSpPr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1AA47B74-BBBF-AE1A-C294-70A98FDC69D4}"/>
                </a:ext>
              </a:extLst>
            </p:cNvPr>
            <p:cNvSpPr/>
            <p:nvPr/>
          </p:nvSpPr>
          <p:spPr>
            <a:xfrm>
              <a:off x="9933" y="51755"/>
              <a:ext cx="2395999" cy="718799"/>
            </a:xfrm>
            <a:prstGeom prst="chevron">
              <a:avLst>
                <a:gd name="adj" fmla="val 30000"/>
              </a:avLst>
            </a:pr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Arrow: Chevron 4">
              <a:extLst>
                <a:ext uri="{FF2B5EF4-FFF2-40B4-BE49-F238E27FC236}">
                  <a16:creationId xmlns:a16="http://schemas.microsoft.com/office/drawing/2014/main" id="{2024B81F-9A8A-0CAA-EB01-BD731B24847D}"/>
                </a:ext>
              </a:extLst>
            </p:cNvPr>
            <p:cNvSpPr txBox="1"/>
            <p:nvPr/>
          </p:nvSpPr>
          <p:spPr>
            <a:xfrm>
              <a:off x="225573" y="51755"/>
              <a:ext cx="1964719" cy="7187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752" tIns="88752" rIns="88752" bIns="88752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/>
                <a:t>Status</a:t>
              </a:r>
              <a:endParaRPr lang="en-US" sz="2800" kern="120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A15A7F0-B520-5027-285C-D4310B27D912}"/>
              </a:ext>
            </a:extLst>
          </p:cNvPr>
          <p:cNvGrpSpPr/>
          <p:nvPr/>
        </p:nvGrpSpPr>
        <p:grpSpPr>
          <a:xfrm>
            <a:off x="4807857" y="4113620"/>
            <a:ext cx="2292999" cy="359861"/>
            <a:chOff x="9933" y="51755"/>
            <a:chExt cx="2395999" cy="718799"/>
          </a:xfrm>
        </p:grpSpPr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BF985C1F-0647-2F18-DCB0-4FEEC3AC702D}"/>
                </a:ext>
              </a:extLst>
            </p:cNvPr>
            <p:cNvSpPr/>
            <p:nvPr/>
          </p:nvSpPr>
          <p:spPr>
            <a:xfrm>
              <a:off x="9933" y="51755"/>
              <a:ext cx="2395999" cy="718799"/>
            </a:xfrm>
            <a:prstGeom prst="chevron">
              <a:avLst>
                <a:gd name="adj" fmla="val 30000"/>
              </a:avLst>
            </a:pr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Arrow: Chevron 4">
              <a:extLst>
                <a:ext uri="{FF2B5EF4-FFF2-40B4-BE49-F238E27FC236}">
                  <a16:creationId xmlns:a16="http://schemas.microsoft.com/office/drawing/2014/main" id="{F28F0865-E6A5-7419-DC95-0A7D636FD566}"/>
                </a:ext>
              </a:extLst>
            </p:cNvPr>
            <p:cNvSpPr txBox="1"/>
            <p:nvPr/>
          </p:nvSpPr>
          <p:spPr>
            <a:xfrm>
              <a:off x="225573" y="51755"/>
              <a:ext cx="1964719" cy="7187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752" tIns="88752" rIns="88752" bIns="88752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/>
                <a:t>Status</a:t>
              </a:r>
              <a:endParaRPr lang="en-US" sz="2800" kern="120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31DCA4F-3238-57CA-3DB9-7519B4EB118E}"/>
              </a:ext>
            </a:extLst>
          </p:cNvPr>
          <p:cNvGrpSpPr/>
          <p:nvPr/>
        </p:nvGrpSpPr>
        <p:grpSpPr>
          <a:xfrm>
            <a:off x="7143018" y="4113620"/>
            <a:ext cx="2292999" cy="359861"/>
            <a:chOff x="9933" y="51755"/>
            <a:chExt cx="2395999" cy="718799"/>
          </a:xfrm>
        </p:grpSpPr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F0C1EA7A-C28B-E441-724C-EF2BA3D44A98}"/>
                </a:ext>
              </a:extLst>
            </p:cNvPr>
            <p:cNvSpPr/>
            <p:nvPr/>
          </p:nvSpPr>
          <p:spPr>
            <a:xfrm>
              <a:off x="9933" y="51755"/>
              <a:ext cx="2395999" cy="718799"/>
            </a:xfrm>
            <a:prstGeom prst="chevron">
              <a:avLst>
                <a:gd name="adj" fmla="val 30000"/>
              </a:avLst>
            </a:pr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Arrow: Chevron 4">
              <a:extLst>
                <a:ext uri="{FF2B5EF4-FFF2-40B4-BE49-F238E27FC236}">
                  <a16:creationId xmlns:a16="http://schemas.microsoft.com/office/drawing/2014/main" id="{0173C51A-E7FE-223D-8B90-881A3763F90C}"/>
                </a:ext>
              </a:extLst>
            </p:cNvPr>
            <p:cNvSpPr txBox="1"/>
            <p:nvPr/>
          </p:nvSpPr>
          <p:spPr>
            <a:xfrm>
              <a:off x="225573" y="51755"/>
              <a:ext cx="1964719" cy="7187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752" tIns="88752" rIns="88752" bIns="88752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/>
                <a:t>Status</a:t>
              </a:r>
              <a:endParaRPr lang="en-US" sz="2800" kern="120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E7A29B3F-3E31-2F5A-E2A1-7E92024DC256}"/>
              </a:ext>
            </a:extLst>
          </p:cNvPr>
          <p:cNvGrpSpPr/>
          <p:nvPr/>
        </p:nvGrpSpPr>
        <p:grpSpPr>
          <a:xfrm>
            <a:off x="9499128" y="4113617"/>
            <a:ext cx="2292999" cy="359861"/>
            <a:chOff x="9933" y="51755"/>
            <a:chExt cx="2395999" cy="718799"/>
          </a:xfrm>
        </p:grpSpPr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DEDE9702-06F6-0F1F-C4D1-F134AE3A3FA3}"/>
                </a:ext>
              </a:extLst>
            </p:cNvPr>
            <p:cNvSpPr/>
            <p:nvPr/>
          </p:nvSpPr>
          <p:spPr>
            <a:xfrm>
              <a:off x="9933" y="51755"/>
              <a:ext cx="2395999" cy="718799"/>
            </a:xfrm>
            <a:prstGeom prst="chevron">
              <a:avLst>
                <a:gd name="adj" fmla="val 30000"/>
              </a:avLst>
            </a:pr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Arrow: Chevron 4">
              <a:extLst>
                <a:ext uri="{FF2B5EF4-FFF2-40B4-BE49-F238E27FC236}">
                  <a16:creationId xmlns:a16="http://schemas.microsoft.com/office/drawing/2014/main" id="{DE63491D-82C5-1787-1B1C-1EDAD1127FA7}"/>
                </a:ext>
              </a:extLst>
            </p:cNvPr>
            <p:cNvSpPr txBox="1"/>
            <p:nvPr/>
          </p:nvSpPr>
          <p:spPr>
            <a:xfrm>
              <a:off x="225573" y="51755"/>
              <a:ext cx="1964719" cy="7187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752" tIns="88752" rIns="88752" bIns="88752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/>
                <a:t>Status</a:t>
              </a:r>
              <a:endParaRPr lang="en-US" sz="2800" kern="1200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4BEFED0D-15E3-3B26-0874-91F6B3BEDFE6}"/>
              </a:ext>
            </a:extLst>
          </p:cNvPr>
          <p:cNvGrpSpPr/>
          <p:nvPr/>
        </p:nvGrpSpPr>
        <p:grpSpPr>
          <a:xfrm>
            <a:off x="136367" y="4113619"/>
            <a:ext cx="2292999" cy="359861"/>
            <a:chOff x="9933" y="51755"/>
            <a:chExt cx="2395999" cy="718799"/>
          </a:xfrm>
        </p:grpSpPr>
        <p:sp>
          <p:nvSpPr>
            <p:cNvPr id="53" name="Arrow: Chevron 52">
              <a:extLst>
                <a:ext uri="{FF2B5EF4-FFF2-40B4-BE49-F238E27FC236}">
                  <a16:creationId xmlns:a16="http://schemas.microsoft.com/office/drawing/2014/main" id="{A5FD9DAC-F76A-89F3-5E91-E374AF506A9F}"/>
                </a:ext>
              </a:extLst>
            </p:cNvPr>
            <p:cNvSpPr/>
            <p:nvPr/>
          </p:nvSpPr>
          <p:spPr>
            <a:xfrm>
              <a:off x="9933" y="51755"/>
              <a:ext cx="2395999" cy="718799"/>
            </a:xfrm>
            <a:prstGeom prst="chevron">
              <a:avLst>
                <a:gd name="adj" fmla="val 30000"/>
              </a:avLst>
            </a:prstGeom>
          </p:spPr>
          <p:style>
            <a:lnRef idx="1">
              <a:schemeClr val="accent3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4" name="Arrow: Chevron 4">
              <a:extLst>
                <a:ext uri="{FF2B5EF4-FFF2-40B4-BE49-F238E27FC236}">
                  <a16:creationId xmlns:a16="http://schemas.microsoft.com/office/drawing/2014/main" id="{5DCC0D14-A8A6-B8EC-D3B5-0560114D94AC}"/>
                </a:ext>
              </a:extLst>
            </p:cNvPr>
            <p:cNvSpPr txBox="1"/>
            <p:nvPr/>
          </p:nvSpPr>
          <p:spPr>
            <a:xfrm>
              <a:off x="225573" y="51755"/>
              <a:ext cx="1964719" cy="71879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8752" tIns="88752" rIns="88752" bIns="88752" numCol="1" spcCol="1270" anchor="ctr" anchorCtr="0">
              <a:noAutofit/>
            </a:bodyPr>
            <a:lstStyle/>
            <a:p>
              <a:pPr marL="0" lvl="0" indent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800" kern="1200"/>
                <a:t>Status</a:t>
              </a:r>
              <a:endParaRPr lang="en-US" sz="2800" kern="120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4DC6261-85CD-31D5-0A7C-C488DFF84598}"/>
              </a:ext>
            </a:extLst>
          </p:cNvPr>
          <p:cNvGrpSpPr/>
          <p:nvPr/>
        </p:nvGrpSpPr>
        <p:grpSpPr>
          <a:xfrm>
            <a:off x="137535" y="4473480"/>
            <a:ext cx="2201440" cy="1660620"/>
            <a:chOff x="137535" y="5150136"/>
            <a:chExt cx="2201440" cy="147942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F30C369-CD7A-54F9-CD7F-7D1A055519C1}"/>
                </a:ext>
              </a:extLst>
            </p:cNvPr>
            <p:cNvGrpSpPr/>
            <p:nvPr/>
          </p:nvGrpSpPr>
          <p:grpSpPr>
            <a:xfrm>
              <a:off x="137535" y="5150136"/>
              <a:ext cx="2180359" cy="1241199"/>
              <a:chOff x="9933" y="770555"/>
              <a:chExt cx="2180359" cy="3294303"/>
            </a:xfrm>
            <a:grpFill/>
          </p:grpSpPr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40E69F7C-97C8-7315-F854-ED874718FBFE}"/>
                  </a:ext>
                </a:extLst>
              </p:cNvPr>
              <p:cNvSpPr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</p:spPr>
            <p:style>
              <a:ln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6F830839-6E34-4CED-7CD3-A80A105A29DA}"/>
                  </a:ext>
                </a:extLst>
              </p:cNvPr>
              <p:cNvSpPr txBox="1"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  <a:ln w="9525" cap="flat" cmpd="sng" algn="ctr">
                <a:solidFill>
                  <a:srgbClr val="FFCC4D">
                    <a:alpha val="90000"/>
                    <a:tint val="4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spcFirstLastPara="0" vert="horz" wrap="square" lIns="172297" tIns="172297" rIns="172297" bIns="344594" numCol="1" spcCol="1270" anchor="t" anchorCtr="0">
                <a:noAutofit/>
              </a:bodyPr>
              <a:lstStyle>
                <a:lvl1pPr>
                  <a:defRPr sz="1800"/>
                </a:lvl1pPr>
              </a:lstStyle>
              <a:p>
                <a:endParaRPr lang="en-US" sz="2000"/>
              </a:p>
            </p:txBody>
          </p:sp>
        </p:grp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0FA2C12-6805-7ABE-876E-AD4D0EEFEAB0}"/>
                </a:ext>
              </a:extLst>
            </p:cNvPr>
            <p:cNvSpPr txBox="1"/>
            <p:nvPr/>
          </p:nvSpPr>
          <p:spPr>
            <a:xfrm>
              <a:off x="143306" y="5163255"/>
              <a:ext cx="2195669" cy="14663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mplementation</a:t>
              </a:r>
              <a:r>
                <a:rPr lang="en-US" sz="1200">
                  <a:latin typeface="Arial (body)"/>
                </a:rPr>
                <a:t> 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nstall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00B050"/>
                  </a:solidFill>
                  <a:latin typeface="Arial (body)"/>
                </a:rPr>
                <a:t>Integration &amp; </a:t>
              </a: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Testing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00B050"/>
                  </a:solidFill>
                  <a:latin typeface="Arial (body)"/>
                </a:rPr>
                <a:t>Demonstr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Technical Note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>
                <a:solidFill>
                  <a:srgbClr val="FFC000"/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latin typeface="Arial (body)"/>
                </a:rPr>
                <a:t>Completion Date: 31/10/2023</a:t>
              </a:r>
              <a:endParaRPr lang="en-US" sz="1200" kern="1200">
                <a:latin typeface="Arial (body)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9A2DBDD-6D97-86E0-43BB-EDAFDC80749E}"/>
              </a:ext>
            </a:extLst>
          </p:cNvPr>
          <p:cNvGrpSpPr/>
          <p:nvPr/>
        </p:nvGrpSpPr>
        <p:grpSpPr>
          <a:xfrm>
            <a:off x="2472564" y="4486603"/>
            <a:ext cx="2201440" cy="1645895"/>
            <a:chOff x="137535" y="5150136"/>
            <a:chExt cx="2201440" cy="1493046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E58294E7-0ADA-7D2F-3CE4-99592B5ACFC7}"/>
                </a:ext>
              </a:extLst>
            </p:cNvPr>
            <p:cNvGrpSpPr/>
            <p:nvPr/>
          </p:nvGrpSpPr>
          <p:grpSpPr>
            <a:xfrm>
              <a:off x="137535" y="5150136"/>
              <a:ext cx="2180359" cy="1241199"/>
              <a:chOff x="9933" y="770555"/>
              <a:chExt cx="2180359" cy="3294303"/>
            </a:xfrm>
            <a:grpFill/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5F55B603-F1FF-B437-D69A-DFFB3979C0FE}"/>
                  </a:ext>
                </a:extLst>
              </p:cNvPr>
              <p:cNvSpPr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</p:spPr>
            <p:style>
              <a:ln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EB59A02-33AA-2995-F462-CB0B4310A847}"/>
                  </a:ext>
                </a:extLst>
              </p:cNvPr>
              <p:cNvSpPr txBox="1"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  <a:ln w="9525" cap="flat" cmpd="sng" algn="ctr">
                <a:solidFill>
                  <a:srgbClr val="FFCC4D">
                    <a:alpha val="90000"/>
                    <a:tint val="4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spcFirstLastPara="0" vert="horz" wrap="square" lIns="172297" tIns="172297" rIns="172297" bIns="344594" numCol="1" spcCol="1270" anchor="t" anchorCtr="0">
                <a:noAutofit/>
              </a:bodyPr>
              <a:lstStyle>
                <a:lvl1pPr>
                  <a:defRPr sz="1800"/>
                </a:lvl1pPr>
              </a:lstStyle>
              <a:p>
                <a:endParaRPr lang="en-US" sz="2000"/>
              </a:p>
            </p:txBody>
          </p:sp>
        </p:grp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0C720EC3-1007-C5EB-E3FB-10729F689B4C}"/>
                </a:ext>
              </a:extLst>
            </p:cNvPr>
            <p:cNvSpPr txBox="1"/>
            <p:nvPr/>
          </p:nvSpPr>
          <p:spPr>
            <a:xfrm>
              <a:off x="143306" y="5163255"/>
              <a:ext cx="2195669" cy="1479927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mplementation</a:t>
              </a:r>
              <a:r>
                <a:rPr lang="en-US" sz="1200">
                  <a:latin typeface="Arial (body)"/>
                </a:rPr>
                <a:t> 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nstall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Integration &amp; </a:t>
              </a:r>
              <a:r>
                <a:rPr lang="en-US" sz="1200">
                  <a:solidFill>
                    <a:srgbClr val="C00000"/>
                  </a:solidFill>
                  <a:latin typeface="Arial (body)"/>
                </a:rPr>
                <a:t>Testing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Demonstr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chemeClr val="accent6">
                      <a:lumMod val="50000"/>
                    </a:schemeClr>
                  </a:solidFill>
                  <a:latin typeface="Arial (body)"/>
                </a:rPr>
                <a:t>Technical Note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>
                <a:solidFill>
                  <a:schemeClr val="accent6">
                    <a:lumMod val="50000"/>
                  </a:schemeClr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latin typeface="Arial (body)"/>
                </a:rPr>
                <a:t>Completion Date: 30/11/2023</a:t>
              </a:r>
              <a:endParaRPr lang="en-US" sz="1200" kern="1200">
                <a:latin typeface="Arial (body)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EA1C762-482A-E3AE-98B9-E3DC636BC9D0}"/>
              </a:ext>
            </a:extLst>
          </p:cNvPr>
          <p:cNvGrpSpPr/>
          <p:nvPr/>
        </p:nvGrpSpPr>
        <p:grpSpPr>
          <a:xfrm>
            <a:off x="4807593" y="4467065"/>
            <a:ext cx="2201440" cy="1662340"/>
            <a:chOff x="137535" y="5150136"/>
            <a:chExt cx="2201440" cy="147500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1D099448-108B-B6C1-4D65-3DACE35E1683}"/>
                </a:ext>
              </a:extLst>
            </p:cNvPr>
            <p:cNvGrpSpPr/>
            <p:nvPr/>
          </p:nvGrpSpPr>
          <p:grpSpPr>
            <a:xfrm>
              <a:off x="137535" y="5150136"/>
              <a:ext cx="2180359" cy="1241199"/>
              <a:chOff x="9933" y="770555"/>
              <a:chExt cx="2180359" cy="3294303"/>
            </a:xfrm>
            <a:grpFill/>
          </p:grpSpPr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BC2C04D1-8CE7-4699-6682-F941A29878FD}"/>
                  </a:ext>
                </a:extLst>
              </p:cNvPr>
              <p:cNvSpPr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</p:spPr>
            <p:style>
              <a:ln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6038F8FB-4408-5C54-C908-D39162359C54}"/>
                  </a:ext>
                </a:extLst>
              </p:cNvPr>
              <p:cNvSpPr txBox="1"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  <a:ln w="9525" cap="flat" cmpd="sng" algn="ctr">
                <a:solidFill>
                  <a:srgbClr val="FFCC4D">
                    <a:alpha val="90000"/>
                    <a:tint val="4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spcFirstLastPara="0" vert="horz" wrap="square" lIns="172297" tIns="172297" rIns="172297" bIns="344594" numCol="1" spcCol="1270" anchor="t" anchorCtr="0">
                <a:noAutofit/>
              </a:bodyPr>
              <a:lstStyle>
                <a:lvl1pPr>
                  <a:defRPr sz="1800"/>
                </a:lvl1pPr>
              </a:lstStyle>
              <a:p>
                <a:endParaRPr lang="en-US" sz="2000"/>
              </a:p>
            </p:txBody>
          </p:sp>
        </p:grp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DAD1FF5E-DDFE-34B0-43A5-E98603CAE710}"/>
                </a:ext>
              </a:extLst>
            </p:cNvPr>
            <p:cNvSpPr txBox="1"/>
            <p:nvPr/>
          </p:nvSpPr>
          <p:spPr>
            <a:xfrm>
              <a:off x="143306" y="5163255"/>
              <a:ext cx="2195669" cy="146189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mplementation</a:t>
              </a:r>
              <a:r>
                <a:rPr lang="en-US" sz="1200">
                  <a:latin typeface="Arial (body)"/>
                </a:rPr>
                <a:t> 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nstall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Integration &amp; </a:t>
              </a:r>
              <a:r>
                <a:rPr lang="en-US" sz="1200">
                  <a:solidFill>
                    <a:srgbClr val="C00000"/>
                  </a:solidFill>
                  <a:latin typeface="Arial (body)"/>
                </a:rPr>
                <a:t>Testing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Demonstr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chemeClr val="accent6">
                      <a:lumMod val="50000"/>
                    </a:schemeClr>
                  </a:solidFill>
                  <a:latin typeface="Arial (body)"/>
                </a:rPr>
                <a:t>Technical Note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>
                <a:solidFill>
                  <a:schemeClr val="accent6">
                    <a:lumMod val="50000"/>
                  </a:schemeClr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latin typeface="Arial (body)"/>
                </a:rPr>
                <a:t>Completion Date: 30/11/2023</a:t>
              </a:r>
              <a:endParaRPr lang="en-US" sz="1200" kern="1200">
                <a:latin typeface="Arial (body)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25BC29B9-126B-F5F0-91A1-BC199234142A}"/>
              </a:ext>
            </a:extLst>
          </p:cNvPr>
          <p:cNvGrpSpPr/>
          <p:nvPr/>
        </p:nvGrpSpPr>
        <p:grpSpPr>
          <a:xfrm>
            <a:off x="7134647" y="4473481"/>
            <a:ext cx="2201440" cy="1656939"/>
            <a:chOff x="137535" y="5150136"/>
            <a:chExt cx="2201440" cy="1475009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EFCFA72C-378C-B7CA-7818-F92947E94C26}"/>
                </a:ext>
              </a:extLst>
            </p:cNvPr>
            <p:cNvGrpSpPr/>
            <p:nvPr/>
          </p:nvGrpSpPr>
          <p:grpSpPr>
            <a:xfrm>
              <a:off x="137535" y="5150136"/>
              <a:ext cx="2180359" cy="1241199"/>
              <a:chOff x="9933" y="770555"/>
              <a:chExt cx="2180359" cy="3294303"/>
            </a:xfrm>
            <a:grpFill/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393309AB-272A-CE1B-3FC7-7F4EBF4F39D3}"/>
                  </a:ext>
                </a:extLst>
              </p:cNvPr>
              <p:cNvSpPr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</p:spPr>
            <p:style>
              <a:ln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D2D15C94-1C4A-F93C-2E3E-12EB5D940E51}"/>
                  </a:ext>
                </a:extLst>
              </p:cNvPr>
              <p:cNvSpPr txBox="1"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  <a:ln w="9525" cap="flat" cmpd="sng" algn="ctr">
                <a:solidFill>
                  <a:srgbClr val="FFCC4D">
                    <a:alpha val="90000"/>
                    <a:tint val="4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spcFirstLastPara="0" vert="horz" wrap="square" lIns="172297" tIns="172297" rIns="172297" bIns="344594" numCol="1" spcCol="1270" anchor="t" anchorCtr="0">
                <a:noAutofit/>
              </a:bodyPr>
              <a:lstStyle>
                <a:lvl1pPr>
                  <a:defRPr sz="1800"/>
                </a:lvl1pPr>
              </a:lstStyle>
              <a:p>
                <a:endParaRPr lang="en-US" sz="2000"/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E7DAA62-9F3A-318D-152C-5CFE6DD32675}"/>
                </a:ext>
              </a:extLst>
            </p:cNvPr>
            <p:cNvSpPr txBox="1"/>
            <p:nvPr/>
          </p:nvSpPr>
          <p:spPr>
            <a:xfrm>
              <a:off x="143306" y="5163255"/>
              <a:ext cx="2195669" cy="146189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mplementation</a:t>
              </a:r>
              <a:r>
                <a:rPr lang="en-US" sz="1200">
                  <a:latin typeface="Arial (body)"/>
                </a:rPr>
                <a:t> 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00B050"/>
                  </a:solidFill>
                  <a:latin typeface="Arial (body)"/>
                </a:rPr>
                <a:t>Install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Integration &amp; </a:t>
              </a:r>
              <a:r>
                <a:rPr lang="en-US" sz="1200">
                  <a:solidFill>
                    <a:srgbClr val="C00000"/>
                  </a:solidFill>
                  <a:latin typeface="Arial (body)"/>
                </a:rPr>
                <a:t>Testing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Demonstra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chemeClr val="accent6">
                      <a:lumMod val="50000"/>
                    </a:schemeClr>
                  </a:solidFill>
                  <a:latin typeface="Arial (body)"/>
                </a:rPr>
                <a:t>Technical Note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>
                <a:solidFill>
                  <a:schemeClr val="accent6">
                    <a:lumMod val="50000"/>
                  </a:schemeClr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latin typeface="Arial (body)"/>
                </a:rPr>
                <a:t>Completion Date: 15/12/2023</a:t>
              </a:r>
              <a:endParaRPr lang="en-US" sz="1200" kern="1200">
                <a:latin typeface="Arial (body)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1F7C8BC-2B32-24E8-82E0-D89C10AD4B77}"/>
              </a:ext>
            </a:extLst>
          </p:cNvPr>
          <p:cNvGrpSpPr/>
          <p:nvPr/>
        </p:nvGrpSpPr>
        <p:grpSpPr>
          <a:xfrm>
            <a:off x="9499128" y="4486602"/>
            <a:ext cx="2201440" cy="1658313"/>
            <a:chOff x="137535" y="5150136"/>
            <a:chExt cx="2201440" cy="1471423"/>
          </a:xfr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E442D46B-00E2-EE76-62E9-0DC117CFBE8E}"/>
                </a:ext>
              </a:extLst>
            </p:cNvPr>
            <p:cNvGrpSpPr/>
            <p:nvPr/>
          </p:nvGrpSpPr>
          <p:grpSpPr>
            <a:xfrm>
              <a:off x="137535" y="5150136"/>
              <a:ext cx="2180359" cy="1241199"/>
              <a:chOff x="9933" y="770555"/>
              <a:chExt cx="2180359" cy="3294303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D38F5A6F-77AF-E076-969D-DBE3F30F76E8}"/>
                  </a:ext>
                </a:extLst>
              </p:cNvPr>
              <p:cNvSpPr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</p:spPr>
            <p:style>
              <a:ln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3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1D027C25-E6D8-5A47-93D1-5F2AE82A6C90}"/>
                  </a:ext>
                </a:extLst>
              </p:cNvPr>
              <p:cNvSpPr txBox="1"/>
              <p:nvPr/>
            </p:nvSpPr>
            <p:spPr>
              <a:xfrm>
                <a:off x="9933" y="770555"/>
                <a:ext cx="2180359" cy="3294303"/>
              </a:xfrm>
              <a:prstGeom prst="rect">
                <a:avLst/>
              </a:prstGeom>
              <a:grpFill/>
              <a:ln w="9525" cap="flat" cmpd="sng" algn="ctr">
                <a:solidFill>
                  <a:srgbClr val="FFCC4D">
                    <a:alpha val="90000"/>
                    <a:tint val="40000"/>
                    <a:hueOff val="0"/>
                    <a:satOff val="0"/>
                    <a:lumOff val="0"/>
                    <a:alphaOff val="0"/>
                  </a:srgbClr>
                </a:solidFill>
                <a:prstDash val="soli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spcFirstLastPara="0" vert="horz" wrap="square" lIns="172297" tIns="172297" rIns="172297" bIns="344594" numCol="1" spcCol="1270" anchor="t" anchorCtr="0">
                <a:noAutofit/>
              </a:bodyPr>
              <a:lstStyle>
                <a:lvl1pPr>
                  <a:defRPr sz="1800"/>
                </a:lvl1pPr>
              </a:lstStyle>
              <a:p>
                <a:endParaRPr lang="en-US" sz="2000"/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4E331623-C2AF-A50D-7320-5CED8062D1AB}"/>
                </a:ext>
              </a:extLst>
            </p:cNvPr>
            <p:cNvSpPr txBox="1"/>
            <p:nvPr/>
          </p:nvSpPr>
          <p:spPr>
            <a:xfrm>
              <a:off x="143306" y="5163255"/>
              <a:ext cx="2195669" cy="1458304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rgbClr val="C00000"/>
                  </a:solidFill>
                  <a:latin typeface="Arial (body)"/>
                </a:rPr>
                <a:t>User management policy</a:t>
              </a:r>
              <a:endParaRPr lang="en-US" sz="1200" kern="1200">
                <a:solidFill>
                  <a:srgbClr val="C00000"/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 kern="1200">
                  <a:solidFill>
                    <a:srgbClr val="C00000"/>
                  </a:solidFill>
                  <a:latin typeface="Arial (body)"/>
                </a:rPr>
                <a:t>Use cases definition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solidFill>
                    <a:schemeClr val="accent6">
                      <a:lumMod val="50000"/>
                    </a:schemeClr>
                  </a:solidFill>
                  <a:latin typeface="Arial (body)"/>
                </a:rPr>
                <a:t>Technical Note</a:t>
              </a: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 kern="1200">
                <a:solidFill>
                  <a:srgbClr val="FFC000"/>
                </a:solidFill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200">
                <a:latin typeface="Arial (body)"/>
              </a:endParaRPr>
            </a:p>
            <a:p>
              <a:pPr marL="0" lvl="0" indent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200">
                  <a:latin typeface="Arial (body)"/>
                </a:rPr>
                <a:t>Completion Date: Q1 2024</a:t>
              </a:r>
              <a:endParaRPr lang="en-US" sz="1200" kern="1200">
                <a:latin typeface="Arial (body)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9090C7E-AF99-A023-3AD9-C11761D2B46E}"/>
              </a:ext>
            </a:extLst>
          </p:cNvPr>
          <p:cNvSpPr txBox="1"/>
          <p:nvPr/>
        </p:nvSpPr>
        <p:spPr>
          <a:xfrm>
            <a:off x="9185703" y="6179308"/>
            <a:ext cx="2807208" cy="2616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en-US" sz="1100">
                <a:solidFill>
                  <a:srgbClr val="00B050"/>
                </a:solidFill>
                <a:latin typeface="Arial (body)"/>
              </a:rPr>
              <a:t>Completed  </a:t>
            </a:r>
            <a:r>
              <a:rPr lang="en-US" sz="1100">
                <a:solidFill>
                  <a:srgbClr val="C00000"/>
                </a:solidFill>
                <a:latin typeface="Arial (body)"/>
              </a:rPr>
              <a:t>On-going</a:t>
            </a:r>
            <a:r>
              <a:rPr lang="en-US" sz="1100">
                <a:solidFill>
                  <a:schemeClr val="accent3">
                    <a:lumMod val="75000"/>
                  </a:schemeClr>
                </a:solidFill>
                <a:latin typeface="Arial (body)"/>
              </a:rPr>
              <a:t>  </a:t>
            </a:r>
            <a:r>
              <a:rPr lang="en-US" sz="1100">
                <a:latin typeface="Arial (body)"/>
              </a:rPr>
              <a:t>Not yet started</a:t>
            </a:r>
            <a:endParaRPr lang="en-GB" sz="1100"/>
          </a:p>
        </p:txBody>
      </p:sp>
    </p:spTree>
    <p:extLst>
      <p:ext uri="{BB962C8B-B14F-4D97-AF65-F5344CB8AC3E}">
        <p14:creationId xmlns:p14="http://schemas.microsoft.com/office/powerpoint/2010/main" val="3796986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4047185" y="2739394"/>
            <a:ext cx="7394721" cy="610482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684000" tIns="0" rIns="64800" bIns="0" rtlCol="0" anchor="ctr" anchorCtr="0"/>
          <a:lstStyle/>
          <a:p>
            <a:pPr marL="174625">
              <a:buSzPct val="90000"/>
            </a:pPr>
            <a:r>
              <a:rPr lang="en-GB" sz="1600" spc="-50">
                <a:latin typeface="Arial" panose="020B0604020202020204" pitchFamily="34" charset="0"/>
              </a:rPr>
              <a:t>#1 Security upgrades, </a:t>
            </a:r>
            <a:r>
              <a:rPr lang="en-US" sz="1600" spc="-50">
                <a:latin typeface="Arial" panose="020B0604020202020204" pitchFamily="34" charset="0"/>
              </a:rPr>
              <a:t>#2 Technological Upgrades, </a:t>
            </a:r>
          </a:p>
          <a:p>
            <a:pPr marL="174625">
              <a:buSzPct val="90000"/>
            </a:pPr>
            <a:r>
              <a:rPr lang="en-GB" sz="1600" spc="-50">
                <a:latin typeface="Arial" panose="020B0604020202020204" pitchFamily="34" charset="0"/>
              </a:rPr>
              <a:t>#3 Metadata update automation, #3 Metadata validation </a:t>
            </a: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gray">
          <a:xfrm>
            <a:off x="780090" y="2739394"/>
            <a:ext cx="3793586" cy="610482"/>
          </a:xfrm>
          <a:prstGeom prst="homePlate">
            <a:avLst>
              <a:gd name="adj" fmla="val 49904"/>
            </a:avLst>
          </a:prstGeom>
          <a:solidFill>
            <a:srgbClr val="FFFFFF"/>
          </a:solidFill>
          <a:ln w="28575">
            <a:solidFill>
              <a:schemeClr val="accent3"/>
            </a:solidFill>
            <a:prstDash val="solid"/>
            <a:miter lim="800000"/>
            <a:headEnd/>
            <a:tailEnd/>
          </a:ln>
          <a:effectLst/>
        </p:spPr>
        <p:txBody>
          <a:bodyPr lIns="108000" tIns="0" rIns="548640" bIns="0" anchor="ctr"/>
          <a:lstStyle/>
          <a:p>
            <a:pPr lvl="0">
              <a:spcBef>
                <a:spcPct val="0"/>
              </a:spcBef>
              <a:buClr>
                <a:srgbClr val="FFFFFF"/>
              </a:buClr>
              <a:buSzPct val="90000"/>
              <a:defRPr/>
            </a:pPr>
            <a:r>
              <a:rPr lang="en-US" sz="1600" b="1" kern="0">
                <a:latin typeface="Arial" panose="020B0604020202020204" pitchFamily="34" charset="0"/>
              </a:rPr>
              <a:t>Metadata Editor (MDE) </a:t>
            </a:r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gray">
          <a:xfrm>
            <a:off x="3932589" y="2739394"/>
            <a:ext cx="685575" cy="6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4800" tIns="0" rIns="0" bIns="0" anchor="ctr"/>
          <a:lstStyle/>
          <a:p>
            <a:pPr>
              <a:spcBef>
                <a:spcPct val="0"/>
              </a:spcBef>
              <a:buClr>
                <a:srgbClr val="991F3D"/>
              </a:buClr>
              <a:buSzPct val="90000"/>
            </a:pPr>
            <a:r>
              <a:rPr lang="en-US" sz="2800">
                <a:latin typeface="Arial" panose="020B0604020202020204" pitchFamily="34" charset="0"/>
                <a:cs typeface="Verdana" pitchFamily="34" charset="0"/>
              </a:rPr>
              <a:t>2</a:t>
            </a:r>
            <a:endParaRPr lang="en-US" sz="3600">
              <a:latin typeface="Arial" panose="020B0604020202020204" pitchFamily="34" charset="0"/>
              <a:cs typeface="Verdana" pitchFamily="34" charset="0"/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gray">
          <a:xfrm>
            <a:off x="4047185" y="1757773"/>
            <a:ext cx="7394723" cy="610482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684000" tIns="0" rIns="64800" bIns="0" rtlCol="0" anchor="ctr" anchorCtr="0"/>
          <a:lstStyle/>
          <a:p>
            <a:pPr marL="174625">
              <a:buSzPct val="90000"/>
            </a:pPr>
            <a:r>
              <a:rPr lang="en-US" sz="1600" spc="-50">
                <a:latin typeface="Arial" panose="020B0604020202020204" pitchFamily="34" charset="0"/>
              </a:rPr>
              <a:t>#1 Security upgrades, #2 Technological Upgrades, #4 STAC and OGC, </a:t>
            </a:r>
          </a:p>
          <a:p>
            <a:pPr marL="174625">
              <a:buSzPct val="90000"/>
            </a:pPr>
            <a:r>
              <a:rPr lang="en-US" sz="1600" spc="-50">
                <a:latin typeface="Arial" panose="020B0604020202020204" pitchFamily="34" charset="0"/>
              </a:rPr>
              <a:t>#4 Services Catalogue #4 Federation</a:t>
            </a:r>
          </a:p>
        </p:txBody>
      </p:sp>
      <p:sp>
        <p:nvSpPr>
          <p:cNvPr id="10" name="AutoShape 10"/>
          <p:cNvSpPr>
            <a:spLocks noChangeArrowheads="1"/>
          </p:cNvSpPr>
          <p:nvPr/>
        </p:nvSpPr>
        <p:spPr bwMode="gray">
          <a:xfrm>
            <a:off x="780091" y="1757774"/>
            <a:ext cx="3803467" cy="610482"/>
          </a:xfrm>
          <a:prstGeom prst="homePlate">
            <a:avLst>
              <a:gd name="adj" fmla="val 49904"/>
            </a:avLst>
          </a:prstGeom>
          <a:solidFill>
            <a:srgbClr val="FFFFFF"/>
          </a:solidFill>
          <a:ln w="28575">
            <a:solidFill>
              <a:schemeClr val="accent1"/>
            </a:solidFill>
            <a:prstDash val="solid"/>
            <a:miter lim="800000"/>
            <a:headEnd/>
            <a:tailEnd/>
          </a:ln>
          <a:effectLst/>
        </p:spPr>
        <p:txBody>
          <a:bodyPr lIns="108000" tIns="0" rIns="548640" bIns="0" anchor="ctr"/>
          <a:lstStyle/>
          <a:p>
            <a:pPr defTabSz="914377">
              <a:buClr>
                <a:srgbClr val="FFFFFF"/>
              </a:buClr>
              <a:buSzPct val="90000"/>
              <a:defRPr/>
            </a:pPr>
            <a:r>
              <a:rPr lang="en-GB" sz="1600" b="1" kern="0">
                <a:latin typeface="Arial" panose="020B0604020202020204" pitchFamily="34" charset="0"/>
              </a:rPr>
              <a:t>FedEO evolutions deliveries </a:t>
            </a: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gray">
          <a:xfrm>
            <a:off x="3932592" y="1757774"/>
            <a:ext cx="685575" cy="6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4800" tIns="0" rIns="0" bIns="0" anchor="ctr"/>
          <a:lstStyle/>
          <a:p>
            <a:pPr>
              <a:spcBef>
                <a:spcPct val="0"/>
              </a:spcBef>
              <a:buClr>
                <a:srgbClr val="991F3D"/>
              </a:buClr>
              <a:buSzPct val="90000"/>
            </a:pPr>
            <a:r>
              <a:rPr lang="en-US" sz="2800">
                <a:latin typeface="Arial" panose="020B0604020202020204" pitchFamily="34" charset="0"/>
                <a:cs typeface="Verdana" pitchFamily="34" charset="0"/>
              </a:rPr>
              <a:t>1</a:t>
            </a:r>
            <a:endParaRPr lang="en-US" sz="3600">
              <a:latin typeface="Arial" panose="020B0604020202020204" pitchFamily="34" charset="0"/>
              <a:cs typeface="Verdana" pitchFamily="34" charset="0"/>
            </a:endParaRP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gray">
          <a:xfrm>
            <a:off x="4047185" y="3721014"/>
            <a:ext cx="7394723" cy="610482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684000" tIns="0" rIns="64800" bIns="0" rtlCol="0" anchor="ctr" anchorCtr="0"/>
          <a:lstStyle/>
          <a:p>
            <a:pPr marL="174625">
              <a:buSzPct val="90000"/>
            </a:pPr>
            <a:r>
              <a:rPr lang="en-GB" sz="1600" spc="-50">
                <a:latin typeface="Arial" panose="020B0604020202020204" pitchFamily="34" charset="0"/>
              </a:rPr>
              <a:t>#1 Security upgrades, </a:t>
            </a:r>
            <a:r>
              <a:rPr lang="en-US" sz="1600" spc="-50">
                <a:latin typeface="Arial" panose="020B0604020202020204" pitchFamily="34" charset="0"/>
              </a:rPr>
              <a:t>#2 Technological Upgrades, </a:t>
            </a:r>
          </a:p>
          <a:p>
            <a:pPr marL="174625">
              <a:buSzPct val="90000"/>
            </a:pPr>
            <a:r>
              <a:rPr lang="fr-FR" sz="1600" spc="-50">
                <a:latin typeface="Arial" panose="020B0604020202020204" pitchFamily="34" charset="0"/>
              </a:rPr>
              <a:t>#5 </a:t>
            </a:r>
            <a:r>
              <a:rPr lang="en-GB" sz="1600" spc="-50">
                <a:latin typeface="Arial" panose="020B0604020202020204" pitchFamily="34" charset="0"/>
              </a:rPr>
              <a:t>Users queries monitoring and reporting </a:t>
            </a: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gray">
          <a:xfrm>
            <a:off x="780088" y="3721014"/>
            <a:ext cx="3833110" cy="610482"/>
          </a:xfrm>
          <a:prstGeom prst="homePlate">
            <a:avLst>
              <a:gd name="adj" fmla="val 49904"/>
            </a:avLst>
          </a:prstGeom>
          <a:solidFill>
            <a:srgbClr val="FFFFFF"/>
          </a:solidFill>
          <a:ln w="28575">
            <a:solidFill>
              <a:srgbClr val="555555"/>
            </a:solidFill>
            <a:prstDash val="solid"/>
            <a:miter lim="800000"/>
            <a:headEnd/>
            <a:tailEnd/>
          </a:ln>
          <a:effectLst/>
        </p:spPr>
        <p:txBody>
          <a:bodyPr lIns="108000" tIns="0" rIns="548640" bIns="0" anchor="ctr"/>
          <a:lstStyle/>
          <a:p>
            <a:pPr lvl="0">
              <a:spcBef>
                <a:spcPct val="0"/>
              </a:spcBef>
              <a:buClr>
                <a:srgbClr val="FFFFFF"/>
              </a:buClr>
              <a:buSzPct val="90000"/>
              <a:defRPr/>
            </a:pPr>
            <a:r>
              <a:rPr lang="en-US" sz="1600" b="1" kern="0">
                <a:latin typeface="Arial" panose="020B0604020202020204" pitchFamily="34" charset="0"/>
              </a:rPr>
              <a:t>Metrics Client Application (MCA)</a:t>
            </a:r>
          </a:p>
        </p:txBody>
      </p:sp>
      <p:sp>
        <p:nvSpPr>
          <p:cNvPr id="14" name="Text Box 5"/>
          <p:cNvSpPr txBox="1">
            <a:spLocks noChangeArrowheads="1"/>
          </p:cNvSpPr>
          <p:nvPr/>
        </p:nvSpPr>
        <p:spPr bwMode="gray">
          <a:xfrm>
            <a:off x="3932591" y="3721014"/>
            <a:ext cx="685575" cy="6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4800" tIns="0" rIns="0" bIns="0" anchor="ctr"/>
          <a:lstStyle/>
          <a:p>
            <a:pPr>
              <a:spcBef>
                <a:spcPct val="0"/>
              </a:spcBef>
              <a:buClr>
                <a:srgbClr val="991F3D"/>
              </a:buClr>
              <a:buSzPct val="90000"/>
            </a:pPr>
            <a:r>
              <a:rPr lang="en-US" sz="2800">
                <a:latin typeface="Arial" panose="020B0604020202020204" pitchFamily="34" charset="0"/>
                <a:cs typeface="Verdana" pitchFamily="34" charset="0"/>
              </a:rPr>
              <a:t>3</a:t>
            </a:r>
            <a:endParaRPr lang="en-US" sz="3600">
              <a:latin typeface="Arial" panose="020B0604020202020204" pitchFamily="34" charset="0"/>
              <a:cs typeface="Verdana" pitchFamily="34" charset="0"/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gray">
          <a:xfrm>
            <a:off x="4047185" y="4702638"/>
            <a:ext cx="7375870" cy="610482"/>
          </a:xfrm>
          <a:prstGeom prst="rect">
            <a:avLst/>
          </a:prstGeom>
          <a:solidFill>
            <a:schemeClr val="bg2"/>
          </a:solidFill>
          <a:ln w="28575" algn="ctr">
            <a:solidFill>
              <a:schemeClr val="accent6">
                <a:lumMod val="40000"/>
                <a:lumOff val="60000"/>
              </a:schemeClr>
            </a:solidFill>
            <a:miter lim="800000"/>
            <a:headEnd/>
            <a:tailEnd/>
          </a:ln>
          <a:effectLst/>
        </p:spPr>
        <p:txBody>
          <a:bodyPr lIns="684000" tIns="0" rIns="64800" bIns="0" rtlCol="0" anchor="ctr" anchorCtr="0"/>
          <a:lstStyle/>
          <a:p>
            <a:pPr marL="174625">
              <a:buSzPct val="90000"/>
            </a:pPr>
            <a:r>
              <a:rPr lang="en-GB" sz="1600" spc="-50">
                <a:latin typeface="Arial" panose="020B0604020202020204" pitchFamily="34" charset="0"/>
              </a:rPr>
              <a:t>#1 Security upgrades, </a:t>
            </a:r>
            <a:r>
              <a:rPr lang="en-US" sz="1600" spc="-50">
                <a:latin typeface="Arial" panose="020B0604020202020204" pitchFamily="34" charset="0"/>
              </a:rPr>
              <a:t>#2 Technological Upgrades, </a:t>
            </a:r>
          </a:p>
          <a:p>
            <a:pPr marL="174625">
              <a:buSzPct val="90000"/>
            </a:pPr>
            <a:r>
              <a:rPr lang="en-GB" sz="1600" spc="-50">
                <a:latin typeface="Arial" panose="020B0604020202020204" pitchFamily="34" charset="0"/>
              </a:rPr>
              <a:t>#3 Performances improvements</a:t>
            </a:r>
            <a:endParaRPr lang="en-US" sz="1600" spc="-50">
              <a:latin typeface="Arial" panose="020B0604020202020204" pitchFamily="34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gray">
          <a:xfrm>
            <a:off x="765268" y="4702634"/>
            <a:ext cx="3823230" cy="610482"/>
          </a:xfrm>
          <a:prstGeom prst="homePlate">
            <a:avLst>
              <a:gd name="adj" fmla="val 49904"/>
            </a:avLst>
          </a:prstGeom>
          <a:solidFill>
            <a:srgbClr val="FFFFFF"/>
          </a:solidFill>
          <a:ln w="28575">
            <a:solidFill>
              <a:srgbClr val="A82465"/>
            </a:solidFill>
            <a:prstDash val="solid"/>
            <a:miter lim="800000"/>
            <a:headEnd/>
            <a:tailEnd/>
          </a:ln>
          <a:effectLst/>
        </p:spPr>
        <p:txBody>
          <a:bodyPr lIns="108000" tIns="0" rIns="548640" bIns="0" anchor="ctr"/>
          <a:lstStyle/>
          <a:p>
            <a:pPr lvl="0">
              <a:spcBef>
                <a:spcPct val="0"/>
              </a:spcBef>
              <a:buClr>
                <a:srgbClr val="FFFFFF"/>
              </a:buClr>
              <a:buSzPct val="90000"/>
              <a:defRPr/>
            </a:pPr>
            <a:r>
              <a:rPr lang="en-US" sz="1600" b="1" kern="0">
                <a:latin typeface="Arial" panose="020B0604020202020204" pitchFamily="34" charset="0"/>
              </a:rPr>
              <a:t>View Server Application</a:t>
            </a:r>
          </a:p>
          <a:p>
            <a:pPr lvl="0">
              <a:spcBef>
                <a:spcPct val="0"/>
              </a:spcBef>
              <a:buClr>
                <a:srgbClr val="FFFFFF"/>
              </a:buClr>
              <a:buSzPct val="90000"/>
              <a:defRPr/>
            </a:pPr>
            <a:r>
              <a:rPr lang="en-US" sz="1600" kern="0">
                <a:latin typeface="Arial" panose="020B0604020202020204" pitchFamily="34" charset="0"/>
                <a:cs typeface="Verdana" pitchFamily="34" charset="0"/>
              </a:rPr>
              <a:t>Object Storage, migration config</a:t>
            </a:r>
          </a:p>
        </p:txBody>
      </p:sp>
      <p:sp>
        <p:nvSpPr>
          <p:cNvPr id="17" name="Text Box 5"/>
          <p:cNvSpPr txBox="1">
            <a:spLocks noChangeArrowheads="1"/>
          </p:cNvSpPr>
          <p:nvPr/>
        </p:nvSpPr>
        <p:spPr bwMode="gray">
          <a:xfrm>
            <a:off x="3932591" y="4702638"/>
            <a:ext cx="685575" cy="610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4800" tIns="0" rIns="0" bIns="0" anchor="ctr"/>
          <a:lstStyle/>
          <a:p>
            <a:pPr>
              <a:spcBef>
                <a:spcPct val="0"/>
              </a:spcBef>
              <a:buClr>
                <a:srgbClr val="991F3D"/>
              </a:buClr>
              <a:buSzPct val="90000"/>
            </a:pPr>
            <a:r>
              <a:rPr lang="en-US" sz="2800">
                <a:latin typeface="Arial" panose="020B0604020202020204" pitchFamily="34" charset="0"/>
                <a:cs typeface="Verdana" pitchFamily="34" charset="0"/>
              </a:rPr>
              <a:t>4</a:t>
            </a:r>
            <a:endParaRPr lang="en-US" sz="3600">
              <a:latin typeface="Arial" panose="020B0604020202020204" pitchFamily="34" charset="0"/>
              <a:cs typeface="Verdana" pitchFamily="34" charset="0"/>
            </a:endParaRP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GB" b="1" noProof="0"/>
              <a:t>Items Deliveries</a:t>
            </a:r>
            <a:r>
              <a:rPr lang="en-GB"/>
              <a:t> </a:t>
            </a:r>
            <a:r>
              <a:rPr lang="en-GB" b="1" noProof="0"/>
              <a:t>and Associated Improvements</a:t>
            </a:r>
            <a:endParaRPr lang="en-US" b="1" noProof="0"/>
          </a:p>
        </p:txBody>
      </p:sp>
    </p:spTree>
    <p:extLst>
      <p:ext uri="{BB962C8B-B14F-4D97-AF65-F5344CB8AC3E}">
        <p14:creationId xmlns:p14="http://schemas.microsoft.com/office/powerpoint/2010/main" val="24312033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09C0F-AFA7-4D50-2444-316CCB33A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75790"/>
            <a:ext cx="10108800" cy="523220"/>
          </a:xfrm>
        </p:spPr>
        <p:txBody>
          <a:bodyPr/>
          <a:lstStyle/>
          <a:p>
            <a:pPr algn="ctr"/>
            <a:r>
              <a:rPr lang="en-GB" sz="2800"/>
              <a:t>ASCEND Services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D455B0BB-D5C3-B6FA-30F3-B91E32753490}"/>
              </a:ext>
            </a:extLst>
          </p:cNvPr>
          <p:cNvSpPr/>
          <p:nvPr/>
        </p:nvSpPr>
        <p:spPr>
          <a:xfrm>
            <a:off x="921245" y="1359611"/>
            <a:ext cx="5750992" cy="4135661"/>
          </a:xfrm>
          <a:prstGeom prst="roundRect">
            <a:avLst/>
          </a:prstGeom>
          <a:solidFill>
            <a:srgbClr val="003249"/>
          </a:solidFill>
          <a:ln w="28575">
            <a:solidFill>
              <a:schemeClr val="accent2">
                <a:lumMod val="60000"/>
                <a:lumOff val="4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8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pic>
        <p:nvPicPr>
          <p:cNvPr id="10" name="Picture 9" descr="A picture containing screenshot, graphics, colorfulness, clipart&#10;&#10;Description automatically generated">
            <a:extLst>
              <a:ext uri="{FF2B5EF4-FFF2-40B4-BE49-F238E27FC236}">
                <a16:creationId xmlns:a16="http://schemas.microsoft.com/office/drawing/2014/main" id="{E7778F17-DC8D-9B32-102E-615F8DF089C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4304" y="2745121"/>
            <a:ext cx="788835" cy="788835"/>
          </a:xfrm>
          <a:prstGeom prst="rect">
            <a:avLst/>
          </a:prstGeom>
        </p:spPr>
      </p:pic>
      <p:pic>
        <p:nvPicPr>
          <p:cNvPr id="11" name="Picture 10" descr="A picture containing screenshot, graphics, colorfulness, symbol&#10;&#10;Description automatically generated">
            <a:extLst>
              <a:ext uri="{FF2B5EF4-FFF2-40B4-BE49-F238E27FC236}">
                <a16:creationId xmlns:a16="http://schemas.microsoft.com/office/drawing/2014/main" id="{8A026698-D9E4-218B-4D7D-5F75A2B72D8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2714" y="4296248"/>
            <a:ext cx="1257754" cy="792437"/>
          </a:xfrm>
          <a:prstGeom prst="rect">
            <a:avLst/>
          </a:prstGeom>
        </p:spPr>
      </p:pic>
      <p:pic>
        <p:nvPicPr>
          <p:cNvPr id="12" name="Graphic 11" descr="Magnifying glass with solid fill">
            <a:extLst>
              <a:ext uri="{FF2B5EF4-FFF2-40B4-BE49-F238E27FC236}">
                <a16:creationId xmlns:a16="http://schemas.microsoft.com/office/drawing/2014/main" id="{2BC236F0-6C4F-916B-EF88-E2005BAE4C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66763" y="3026061"/>
            <a:ext cx="1026087" cy="102608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57017538-5161-6CE9-DA38-F152C5FAA8D3}"/>
              </a:ext>
            </a:extLst>
          </p:cNvPr>
          <p:cNvSpPr txBox="1"/>
          <p:nvPr/>
        </p:nvSpPr>
        <p:spPr>
          <a:xfrm>
            <a:off x="1642680" y="5131863"/>
            <a:ext cx="97068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Local Data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ADE70D-24F4-83B7-EC3E-073A1C18C2E5}"/>
              </a:ext>
            </a:extLst>
          </p:cNvPr>
          <p:cNvSpPr txBox="1"/>
          <p:nvPr/>
        </p:nvSpPr>
        <p:spPr>
          <a:xfrm>
            <a:off x="1497316" y="3508819"/>
            <a:ext cx="11525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Scalable Resources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BFFF6F8-91CD-6FCA-98E1-A3C41BD9421B}"/>
              </a:ext>
            </a:extLst>
          </p:cNvPr>
          <p:cNvSpPr txBox="1"/>
          <p:nvPr/>
        </p:nvSpPr>
        <p:spPr>
          <a:xfrm>
            <a:off x="5242714" y="2410648"/>
            <a:ext cx="123702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Security</a:t>
            </a:r>
          </a:p>
          <a:p>
            <a:pPr algn="ctr"/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Services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pic>
        <p:nvPicPr>
          <p:cNvPr id="24" name="Picture 23" descr="A computer screen with tools on it&#10;&#10;Description automatically generated with low confidence">
            <a:extLst>
              <a:ext uri="{FF2B5EF4-FFF2-40B4-BE49-F238E27FC236}">
                <a16:creationId xmlns:a16="http://schemas.microsoft.com/office/drawing/2014/main" id="{A62039F4-4155-CE85-D44B-AD5333D9E1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813" y="4276660"/>
            <a:ext cx="712318" cy="71231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402A0511-F268-B1DD-76AF-D7337B785E23}"/>
              </a:ext>
            </a:extLst>
          </p:cNvPr>
          <p:cNvSpPr txBox="1"/>
          <p:nvPr/>
        </p:nvSpPr>
        <p:spPr>
          <a:xfrm>
            <a:off x="3442924" y="5063484"/>
            <a:ext cx="14055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Local Algo &amp; Processors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grpSp>
        <p:nvGrpSpPr>
          <p:cNvPr id="29" name="Gráfico 84">
            <a:extLst>
              <a:ext uri="{FF2B5EF4-FFF2-40B4-BE49-F238E27FC236}">
                <a16:creationId xmlns:a16="http://schemas.microsoft.com/office/drawing/2014/main" id="{E283B143-C902-E8EC-7C57-14C497E82DF0}"/>
              </a:ext>
            </a:extLst>
          </p:cNvPr>
          <p:cNvGrpSpPr>
            <a:grpSpLocks noChangeAspect="1"/>
          </p:cNvGrpSpPr>
          <p:nvPr/>
        </p:nvGrpSpPr>
        <p:grpSpPr>
          <a:xfrm>
            <a:off x="2015803" y="4078783"/>
            <a:ext cx="487774" cy="514800"/>
            <a:chOff x="3999529" y="4280819"/>
            <a:chExt cx="571239" cy="571234"/>
          </a:xfrm>
          <a:solidFill>
            <a:srgbClr val="25BAFF"/>
          </a:solidFill>
        </p:grpSpPr>
        <p:sp>
          <p:nvSpPr>
            <p:cNvPr id="30" name="Forma libre 241">
              <a:extLst>
                <a:ext uri="{FF2B5EF4-FFF2-40B4-BE49-F238E27FC236}">
                  <a16:creationId xmlns:a16="http://schemas.microsoft.com/office/drawing/2014/main" id="{A3F785D7-FE09-3A75-A64D-4B01109458F5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31" name="Forma libre 242">
              <a:extLst>
                <a:ext uri="{FF2B5EF4-FFF2-40B4-BE49-F238E27FC236}">
                  <a16:creationId xmlns:a16="http://schemas.microsoft.com/office/drawing/2014/main" id="{B3DA91C7-580B-842F-6859-E442F9834C77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32" name="Forma libre 240">
              <a:extLst>
                <a:ext uri="{FF2B5EF4-FFF2-40B4-BE49-F238E27FC236}">
                  <a16:creationId xmlns:a16="http://schemas.microsoft.com/office/drawing/2014/main" id="{6BD89C58-6FF9-5611-AF9D-7A3C6074499A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3" name="Gráfico 84">
            <a:extLst>
              <a:ext uri="{FF2B5EF4-FFF2-40B4-BE49-F238E27FC236}">
                <a16:creationId xmlns:a16="http://schemas.microsoft.com/office/drawing/2014/main" id="{190F7D96-7756-0353-0790-E6A7927F38D6}"/>
              </a:ext>
            </a:extLst>
          </p:cNvPr>
          <p:cNvGrpSpPr>
            <a:grpSpLocks noChangeAspect="1"/>
          </p:cNvGrpSpPr>
          <p:nvPr/>
        </p:nvGrpSpPr>
        <p:grpSpPr>
          <a:xfrm>
            <a:off x="1816257" y="4325190"/>
            <a:ext cx="487774" cy="514800"/>
            <a:chOff x="3999529" y="4280819"/>
            <a:chExt cx="571239" cy="571234"/>
          </a:xfrm>
          <a:solidFill>
            <a:srgbClr val="25BAFF"/>
          </a:solidFill>
        </p:grpSpPr>
        <p:sp>
          <p:nvSpPr>
            <p:cNvPr id="26" name="Forma libre 241">
              <a:extLst>
                <a:ext uri="{FF2B5EF4-FFF2-40B4-BE49-F238E27FC236}">
                  <a16:creationId xmlns:a16="http://schemas.microsoft.com/office/drawing/2014/main" id="{B6C45F44-78EE-05A2-E140-40DB0004B9F3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27" name="Forma libre 242">
              <a:extLst>
                <a:ext uri="{FF2B5EF4-FFF2-40B4-BE49-F238E27FC236}">
                  <a16:creationId xmlns:a16="http://schemas.microsoft.com/office/drawing/2014/main" id="{619C474F-36E8-1E94-4BE6-DCF7CABA4A4B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28" name="Forma libre 240">
              <a:extLst>
                <a:ext uri="{FF2B5EF4-FFF2-40B4-BE49-F238E27FC236}">
                  <a16:creationId xmlns:a16="http://schemas.microsoft.com/office/drawing/2014/main" id="{30FE6CC5-7B9C-7421-7929-4D040605009B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7" name="Gráfico 84">
            <a:extLst>
              <a:ext uri="{FF2B5EF4-FFF2-40B4-BE49-F238E27FC236}">
                <a16:creationId xmlns:a16="http://schemas.microsoft.com/office/drawing/2014/main" id="{58CF4832-0563-7A64-766F-F963A3F4A104}"/>
              </a:ext>
            </a:extLst>
          </p:cNvPr>
          <p:cNvGrpSpPr>
            <a:grpSpLocks noChangeAspect="1"/>
          </p:cNvGrpSpPr>
          <p:nvPr/>
        </p:nvGrpSpPr>
        <p:grpSpPr>
          <a:xfrm>
            <a:off x="1642683" y="4559755"/>
            <a:ext cx="486776" cy="513747"/>
            <a:chOff x="3999529" y="4280819"/>
            <a:chExt cx="571239" cy="571234"/>
          </a:xfrm>
          <a:solidFill>
            <a:srgbClr val="25BAFF"/>
          </a:solidFill>
        </p:grpSpPr>
        <p:sp>
          <p:nvSpPr>
            <p:cNvPr id="18" name="Forma libre 241">
              <a:extLst>
                <a:ext uri="{FF2B5EF4-FFF2-40B4-BE49-F238E27FC236}">
                  <a16:creationId xmlns:a16="http://schemas.microsoft.com/office/drawing/2014/main" id="{4BC1024D-C06D-A5AA-8EA3-9F8816F0F0FE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9" name="Forma libre 242">
              <a:extLst>
                <a:ext uri="{FF2B5EF4-FFF2-40B4-BE49-F238E27FC236}">
                  <a16:creationId xmlns:a16="http://schemas.microsoft.com/office/drawing/2014/main" id="{42A35E05-7F61-B2F6-8E86-0711BB4ADC98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20" name="Forma libre 240">
              <a:extLst>
                <a:ext uri="{FF2B5EF4-FFF2-40B4-BE49-F238E27FC236}">
                  <a16:creationId xmlns:a16="http://schemas.microsoft.com/office/drawing/2014/main" id="{B0AFE793-BEBD-3FF8-34D2-80904C5B9851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C6F53692-D358-3E65-FB4E-EB80BEDB31A5}"/>
              </a:ext>
            </a:extLst>
          </p:cNvPr>
          <p:cNvSpPr txBox="1"/>
          <p:nvPr/>
        </p:nvSpPr>
        <p:spPr>
          <a:xfrm>
            <a:off x="5115186" y="5111848"/>
            <a:ext cx="14055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Local Services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pic>
        <p:nvPicPr>
          <p:cNvPr id="35" name="Picture 34" descr="A hand holding a gear with a person in the center&#10;&#10;Description automatically generated with low confidence">
            <a:extLst>
              <a:ext uri="{FF2B5EF4-FFF2-40B4-BE49-F238E27FC236}">
                <a16:creationId xmlns:a16="http://schemas.microsoft.com/office/drawing/2014/main" id="{DAF51DDF-CAFC-B0C7-CFBF-A20FC107B8D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5615" y="1686270"/>
            <a:ext cx="531504" cy="53150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BE08AB3-8ECD-3B5A-ADFF-C3D99C7FE396}"/>
              </a:ext>
            </a:extLst>
          </p:cNvPr>
          <p:cNvSpPr txBox="1"/>
          <p:nvPr/>
        </p:nvSpPr>
        <p:spPr>
          <a:xfrm>
            <a:off x="1469740" y="2241838"/>
            <a:ext cx="115252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200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Users  Management</a:t>
            </a:r>
            <a:endParaRPr lang="en-GB" sz="1200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sp>
        <p:nvSpPr>
          <p:cNvPr id="39" name="Right Brace 38">
            <a:extLst>
              <a:ext uri="{FF2B5EF4-FFF2-40B4-BE49-F238E27FC236}">
                <a16:creationId xmlns:a16="http://schemas.microsoft.com/office/drawing/2014/main" id="{B3BC5EFB-0D36-F875-D4BE-530441D5802A}"/>
              </a:ext>
            </a:extLst>
          </p:cNvPr>
          <p:cNvSpPr/>
          <p:nvPr/>
        </p:nvSpPr>
        <p:spPr>
          <a:xfrm rot="16200000">
            <a:off x="3672627" y="1396052"/>
            <a:ext cx="384335" cy="5256110"/>
          </a:xfrm>
          <a:prstGeom prst="rightBrace">
            <a:avLst>
              <a:gd name="adj1" fmla="val 8333"/>
              <a:gd name="adj2" fmla="val 51225"/>
            </a:avLst>
          </a:prstGeom>
          <a:noFill/>
          <a:ln w="34925">
            <a:solidFill>
              <a:srgbClr val="25B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1" name="Picture 40" descr="A blue outline of a person in a shield with a check mark&#10;&#10;Description automatically generated with low confidence">
            <a:extLst>
              <a:ext uri="{FF2B5EF4-FFF2-40B4-BE49-F238E27FC236}">
                <a16:creationId xmlns:a16="http://schemas.microsoft.com/office/drawing/2014/main" id="{31DFF0A4-81AD-0D1D-286B-E18A30ECDFE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7017" y="1841684"/>
            <a:ext cx="531504" cy="531504"/>
          </a:xfrm>
          <a:prstGeom prst="rect">
            <a:avLst/>
          </a:prstGeom>
        </p:spPr>
      </p:pic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FB846DE-A8FF-6082-D974-BD260B002828}"/>
              </a:ext>
            </a:extLst>
          </p:cNvPr>
          <p:cNvSpPr/>
          <p:nvPr/>
        </p:nvSpPr>
        <p:spPr>
          <a:xfrm>
            <a:off x="7683042" y="2114723"/>
            <a:ext cx="2244550" cy="1118940"/>
          </a:xfrm>
          <a:prstGeom prst="roundRect">
            <a:avLst/>
          </a:prstGeom>
          <a:noFill/>
          <a:ln w="34925">
            <a:solidFill>
              <a:schemeClr val="accent6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7FF732D-AC3C-A1CC-DC14-FAA61FA2EBBA}"/>
              </a:ext>
            </a:extLst>
          </p:cNvPr>
          <p:cNvSpPr txBox="1"/>
          <p:nvPr/>
        </p:nvSpPr>
        <p:spPr>
          <a:xfrm>
            <a:off x="7664196" y="2207509"/>
            <a:ext cx="240785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ESA EO </a:t>
            </a:r>
          </a:p>
          <a:p>
            <a:pPr algn="ctr"/>
            <a:r>
              <a:rPr lang="en-GB" b="1">
                <a:solidFill>
                  <a:schemeClr val="accent5">
                    <a:lumMod val="40000"/>
                    <a:lumOff val="60000"/>
                  </a:schemeClr>
                </a:solidFill>
                <a:latin typeface="+mn-lt"/>
              </a:rPr>
              <a:t>Ground Segment Back End</a:t>
            </a:r>
            <a:endParaRPr lang="en-GB">
              <a:solidFill>
                <a:schemeClr val="accent5">
                  <a:lumMod val="40000"/>
                  <a:lumOff val="60000"/>
                </a:schemeClr>
              </a:solidFill>
              <a:latin typeface="+mn-lt"/>
            </a:endParaRPr>
          </a:p>
        </p:txBody>
      </p:sp>
      <p:cxnSp>
        <p:nvCxnSpPr>
          <p:cNvPr id="47" name="Connector: Elbow 46">
            <a:extLst>
              <a:ext uri="{FF2B5EF4-FFF2-40B4-BE49-F238E27FC236}">
                <a16:creationId xmlns:a16="http://schemas.microsoft.com/office/drawing/2014/main" id="{0DC63FC2-C5B9-9571-AE0A-10DADE1D1FD3}"/>
              </a:ext>
            </a:extLst>
          </p:cNvPr>
          <p:cNvCxnSpPr>
            <a:cxnSpLocks/>
            <a:endCxn id="42" idx="1"/>
          </p:cNvCxnSpPr>
          <p:nvPr/>
        </p:nvCxnSpPr>
        <p:spPr>
          <a:xfrm flipV="1">
            <a:off x="6672237" y="2674193"/>
            <a:ext cx="1010805" cy="2618"/>
          </a:xfrm>
          <a:prstGeom prst="bentConnector3">
            <a:avLst/>
          </a:prstGeom>
          <a:ln w="19050">
            <a:solidFill>
              <a:srgbClr val="E6EAED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90917B4-ACFF-2025-3A93-4BCE3BE1E82F}"/>
              </a:ext>
            </a:extLst>
          </p:cNvPr>
          <p:cNvGrpSpPr>
            <a:grpSpLocks noChangeAspect="1"/>
          </p:cNvGrpSpPr>
          <p:nvPr/>
        </p:nvGrpSpPr>
        <p:grpSpPr>
          <a:xfrm>
            <a:off x="7615245" y="1932640"/>
            <a:ext cx="461818" cy="461818"/>
            <a:chOff x="5197434" y="2144662"/>
            <a:chExt cx="257993" cy="257993"/>
          </a:xfrm>
        </p:grpSpPr>
        <p:pic>
          <p:nvPicPr>
            <p:cNvPr id="50" name="Picture 49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CF005604-1DC4-235D-8F3A-CE985EFEAA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B616EC08-6785-2935-9EED-CF329A65892B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03E9C6-F044-2690-4540-0B5551E67EE9}"/>
              </a:ext>
            </a:extLst>
          </p:cNvPr>
          <p:cNvGrpSpPr>
            <a:grpSpLocks noChangeAspect="1"/>
          </p:cNvGrpSpPr>
          <p:nvPr/>
        </p:nvGrpSpPr>
        <p:grpSpPr>
          <a:xfrm>
            <a:off x="741459" y="1643100"/>
            <a:ext cx="461818" cy="461818"/>
            <a:chOff x="5197434" y="2144662"/>
            <a:chExt cx="257993" cy="257993"/>
          </a:xfrm>
        </p:grpSpPr>
        <p:pic>
          <p:nvPicPr>
            <p:cNvPr id="53" name="Picture 52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7ED51869-4831-1A51-DB12-118D9EB0D6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05350780-C000-F679-4ADF-5E4282CBFD72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DBAEF62-02FB-1937-0BBD-58518E22C1CA}"/>
              </a:ext>
            </a:extLst>
          </p:cNvPr>
          <p:cNvSpPr/>
          <p:nvPr/>
        </p:nvSpPr>
        <p:spPr>
          <a:xfrm>
            <a:off x="8512051" y="4450309"/>
            <a:ext cx="2634916" cy="1118940"/>
          </a:xfrm>
          <a:prstGeom prst="roundRect">
            <a:avLst/>
          </a:prstGeom>
          <a:noFill/>
          <a:ln w="34925">
            <a:solidFill>
              <a:srgbClr val="8EFCF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D1CC5621-688D-8784-06E7-CDF1A113681E}"/>
              </a:ext>
            </a:extLst>
          </p:cNvPr>
          <p:cNvSpPr txBox="1"/>
          <p:nvPr/>
        </p:nvSpPr>
        <p:spPr>
          <a:xfrm>
            <a:off x="8694222" y="4501947"/>
            <a:ext cx="237668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b="1">
                <a:solidFill>
                  <a:srgbClr val="8EFCF9"/>
                </a:solidFill>
                <a:latin typeface="+mn-lt"/>
              </a:rPr>
              <a:t>External</a:t>
            </a:r>
          </a:p>
          <a:p>
            <a:pPr algn="ctr"/>
            <a:r>
              <a:rPr lang="en-GB" b="1">
                <a:solidFill>
                  <a:srgbClr val="8EFCF9"/>
                </a:solidFill>
                <a:latin typeface="+mn-lt"/>
              </a:rPr>
              <a:t>Collaborative Environment</a:t>
            </a:r>
            <a:endParaRPr lang="en-GB">
              <a:solidFill>
                <a:srgbClr val="8EFCF9"/>
              </a:solidFill>
              <a:latin typeface="+mn-lt"/>
            </a:endParaRPr>
          </a:p>
        </p:txBody>
      </p:sp>
      <p:cxnSp>
        <p:nvCxnSpPr>
          <p:cNvPr id="58" name="Connector: Elbow 57">
            <a:extLst>
              <a:ext uri="{FF2B5EF4-FFF2-40B4-BE49-F238E27FC236}">
                <a16:creationId xmlns:a16="http://schemas.microsoft.com/office/drawing/2014/main" id="{2E61BFA6-5189-2DEB-B31E-E504A8CA712C}"/>
              </a:ext>
            </a:extLst>
          </p:cNvPr>
          <p:cNvCxnSpPr>
            <a:cxnSpLocks/>
            <a:endCxn id="56" idx="1"/>
          </p:cNvCxnSpPr>
          <p:nvPr/>
        </p:nvCxnSpPr>
        <p:spPr>
          <a:xfrm>
            <a:off x="6682421" y="3799657"/>
            <a:ext cx="1829630" cy="1210122"/>
          </a:xfrm>
          <a:prstGeom prst="bentConnector3">
            <a:avLst/>
          </a:prstGeom>
          <a:ln w="19050">
            <a:solidFill>
              <a:srgbClr val="8EFCF9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0FD037EB-E0D3-CE73-8B32-FB4E473BA9D3}"/>
              </a:ext>
            </a:extLst>
          </p:cNvPr>
          <p:cNvSpPr/>
          <p:nvPr/>
        </p:nvSpPr>
        <p:spPr>
          <a:xfrm>
            <a:off x="6982459" y="4982449"/>
            <a:ext cx="1866519" cy="37398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>
                <a:solidFill>
                  <a:srgbClr val="8EFCF9"/>
                </a:solidFill>
              </a:rPr>
              <a:t>FEDERATION</a:t>
            </a: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CFBEBA65-63C7-2D0A-AB33-5B7693FC44F4}"/>
              </a:ext>
            </a:extLst>
          </p:cNvPr>
          <p:cNvSpPr/>
          <p:nvPr/>
        </p:nvSpPr>
        <p:spPr>
          <a:xfrm>
            <a:off x="9968124" y="1969112"/>
            <a:ext cx="2244550" cy="1371515"/>
          </a:xfrm>
          <a:prstGeom prst="roundRect">
            <a:avLst>
              <a:gd name="adj" fmla="val 0"/>
            </a:avLst>
          </a:prstGeom>
          <a:solidFill>
            <a:schemeClr val="accent6">
              <a:lumMod val="90000"/>
              <a:alpha val="63000"/>
            </a:scheme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Data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</a:rPr>
              <a:t>Validated Algorithms &amp; Processors</a:t>
            </a: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GB" sz="1400" b="1">
                <a:solidFill>
                  <a:schemeClr val="tx1"/>
                </a:solidFill>
                <a:latin typeface="Arial" panose="020B0604020202020204" pitchFamily="34" charset="0"/>
              </a:rPr>
              <a:t>APIs for Data Access, Visualisation and Processing</a:t>
            </a:r>
            <a:endParaRPr lang="en-GB" sz="1400" b="1">
              <a:solidFill>
                <a:schemeClr val="tx1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36C5ECB-5568-1E0E-E214-A26E6CE1E0B6}"/>
              </a:ext>
            </a:extLst>
          </p:cNvPr>
          <p:cNvSpPr txBox="1"/>
          <p:nvPr/>
        </p:nvSpPr>
        <p:spPr>
          <a:xfrm>
            <a:off x="1021295" y="911999"/>
            <a:ext cx="569101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2000" b="1">
                <a:solidFill>
                  <a:schemeClr val="bg1"/>
                </a:solidFill>
                <a:latin typeface="+mn-lt"/>
              </a:rPr>
              <a:t>Generic Collaborative Environment</a:t>
            </a:r>
            <a:endParaRPr lang="en-GB" sz="200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2" name="Picture 71" descr="A picture containing graphics, circle, pattern, art&#10;&#10;Description automatically generated">
            <a:extLst>
              <a:ext uri="{FF2B5EF4-FFF2-40B4-BE49-F238E27FC236}">
                <a16:creationId xmlns:a16="http://schemas.microsoft.com/office/drawing/2014/main" id="{6E796296-8BFF-243C-A78E-6B275D6AE0E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338" y="1786657"/>
            <a:ext cx="1655646" cy="1655646"/>
          </a:xfrm>
          <a:prstGeom prst="rect">
            <a:avLst/>
          </a:prstGeom>
        </p:spPr>
      </p:pic>
      <p:sp>
        <p:nvSpPr>
          <p:cNvPr id="73" name="Rectangle: Rounded Corners 72">
            <a:extLst>
              <a:ext uri="{FF2B5EF4-FFF2-40B4-BE49-F238E27FC236}">
                <a16:creationId xmlns:a16="http://schemas.microsoft.com/office/drawing/2014/main" id="{0EC61179-C357-6559-B1DC-C1D286A114BD}"/>
              </a:ext>
            </a:extLst>
          </p:cNvPr>
          <p:cNvSpPr/>
          <p:nvPr/>
        </p:nvSpPr>
        <p:spPr>
          <a:xfrm>
            <a:off x="22669" y="2267062"/>
            <a:ext cx="1357178" cy="638468"/>
          </a:xfrm>
          <a:prstGeom prst="roundRect">
            <a:avLst/>
          </a:prstGeom>
          <a:solidFill>
            <a:srgbClr val="053249"/>
          </a:solidFill>
          <a:ln w="34925">
            <a:solidFill>
              <a:schemeClr val="accent6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/>
              <a:t>WEB SERVICES</a:t>
            </a:r>
          </a:p>
        </p:txBody>
      </p:sp>
      <p:sp>
        <p:nvSpPr>
          <p:cNvPr id="83" name="Arrow: Down 82">
            <a:extLst>
              <a:ext uri="{FF2B5EF4-FFF2-40B4-BE49-F238E27FC236}">
                <a16:creationId xmlns:a16="http://schemas.microsoft.com/office/drawing/2014/main" id="{B5187125-8E14-E1BC-5DB5-1CE0890BDCC3}"/>
              </a:ext>
            </a:extLst>
          </p:cNvPr>
          <p:cNvSpPr/>
          <p:nvPr/>
        </p:nvSpPr>
        <p:spPr>
          <a:xfrm>
            <a:off x="3747182" y="3359874"/>
            <a:ext cx="342836" cy="331234"/>
          </a:xfrm>
          <a:prstGeom prst="downArrow">
            <a:avLst/>
          </a:prstGeom>
          <a:solidFill>
            <a:srgbClr val="25B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44272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>
            <a:extLst>
              <a:ext uri="{FF2B5EF4-FFF2-40B4-BE49-F238E27FC236}">
                <a16:creationId xmlns:a16="http://schemas.microsoft.com/office/drawing/2014/main" id="{0CB6C0E4-1A23-15F5-9781-AF4FD7F70AFC}"/>
              </a:ext>
            </a:extLst>
          </p:cNvPr>
          <p:cNvGrpSpPr/>
          <p:nvPr/>
        </p:nvGrpSpPr>
        <p:grpSpPr>
          <a:xfrm>
            <a:off x="9996057" y="2989478"/>
            <a:ext cx="388468" cy="766230"/>
            <a:chOff x="10621375" y="2697752"/>
            <a:chExt cx="388468" cy="766230"/>
          </a:xfrm>
        </p:grpSpPr>
        <p:sp>
          <p:nvSpPr>
            <p:cNvPr id="64" name="Isosceles Triangle 63">
              <a:extLst>
                <a:ext uri="{FF2B5EF4-FFF2-40B4-BE49-F238E27FC236}">
                  <a16:creationId xmlns:a16="http://schemas.microsoft.com/office/drawing/2014/main" id="{7655524D-36FE-8DD1-9A31-6C7D214E55D7}"/>
                </a:ext>
              </a:extLst>
            </p:cNvPr>
            <p:cNvSpPr/>
            <p:nvPr/>
          </p:nvSpPr>
          <p:spPr>
            <a:xfrm>
              <a:off x="10621375" y="2697752"/>
              <a:ext cx="384846" cy="387287"/>
            </a:xfrm>
            <a:prstGeom prst="triangle">
              <a:avLst>
                <a:gd name="adj" fmla="val 0"/>
              </a:avLst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5" name="Isosceles Triangle 64">
              <a:extLst>
                <a:ext uri="{FF2B5EF4-FFF2-40B4-BE49-F238E27FC236}">
                  <a16:creationId xmlns:a16="http://schemas.microsoft.com/office/drawing/2014/main" id="{2DF3F416-5A02-FE6C-2D5A-9019C88FD194}"/>
                </a:ext>
              </a:extLst>
            </p:cNvPr>
            <p:cNvSpPr/>
            <p:nvPr/>
          </p:nvSpPr>
          <p:spPr>
            <a:xfrm rot="5400000">
              <a:off x="10626729" y="3080867"/>
              <a:ext cx="378942" cy="387287"/>
            </a:xfrm>
            <a:prstGeom prst="triangle">
              <a:avLst>
                <a:gd name="adj" fmla="val 0"/>
              </a:avLst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E61876F-5DB7-4531-4399-D2764A161229}"/>
              </a:ext>
            </a:extLst>
          </p:cNvPr>
          <p:cNvGrpSpPr/>
          <p:nvPr/>
        </p:nvGrpSpPr>
        <p:grpSpPr>
          <a:xfrm>
            <a:off x="9878204" y="2987199"/>
            <a:ext cx="388468" cy="766230"/>
            <a:chOff x="10621375" y="2697752"/>
            <a:chExt cx="388468" cy="766230"/>
          </a:xfrm>
        </p:grpSpPr>
        <p:sp>
          <p:nvSpPr>
            <p:cNvPr id="60" name="Isosceles Triangle 59">
              <a:extLst>
                <a:ext uri="{FF2B5EF4-FFF2-40B4-BE49-F238E27FC236}">
                  <a16:creationId xmlns:a16="http://schemas.microsoft.com/office/drawing/2014/main" id="{8C1B2721-2609-EF01-BBF3-0AC8766B9864}"/>
                </a:ext>
              </a:extLst>
            </p:cNvPr>
            <p:cNvSpPr/>
            <p:nvPr/>
          </p:nvSpPr>
          <p:spPr>
            <a:xfrm>
              <a:off x="10621375" y="2697752"/>
              <a:ext cx="384846" cy="387287"/>
            </a:xfrm>
            <a:prstGeom prst="triangle">
              <a:avLst>
                <a:gd name="adj" fmla="val 0"/>
              </a:avLst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1" name="Isosceles Triangle 60">
              <a:extLst>
                <a:ext uri="{FF2B5EF4-FFF2-40B4-BE49-F238E27FC236}">
                  <a16:creationId xmlns:a16="http://schemas.microsoft.com/office/drawing/2014/main" id="{DC28C305-E69B-67AF-2C1D-CAE5A3051631}"/>
                </a:ext>
              </a:extLst>
            </p:cNvPr>
            <p:cNvSpPr/>
            <p:nvPr/>
          </p:nvSpPr>
          <p:spPr>
            <a:xfrm rot="5400000">
              <a:off x="10626729" y="3080867"/>
              <a:ext cx="378942" cy="387287"/>
            </a:xfrm>
            <a:prstGeom prst="triangle">
              <a:avLst>
                <a:gd name="adj" fmla="val 0"/>
              </a:avLst>
            </a:prstGeom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297E71B-2F57-20EE-D958-5886AD0DF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4598" y="79200"/>
            <a:ext cx="6110725" cy="830997"/>
          </a:xfrm>
        </p:spPr>
        <p:txBody>
          <a:bodyPr/>
          <a:lstStyle/>
          <a:p>
            <a:r>
              <a:rPr lang="en-GB" sz="2400"/>
              <a:t>GS EVOLUTION HIGH LEVEL ROADMAP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414F01A-12B1-0B12-B5EF-86C4E0010981}"/>
              </a:ext>
            </a:extLst>
          </p:cNvPr>
          <p:cNvSpPr/>
          <p:nvPr/>
        </p:nvSpPr>
        <p:spPr>
          <a:xfrm>
            <a:off x="1397822" y="685614"/>
            <a:ext cx="801912" cy="34136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2023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E73B845-64B7-DC9C-4CAD-5F3BD9486BCA}"/>
              </a:ext>
            </a:extLst>
          </p:cNvPr>
          <p:cNvSpPr/>
          <p:nvPr/>
        </p:nvSpPr>
        <p:spPr>
          <a:xfrm>
            <a:off x="4282348" y="685614"/>
            <a:ext cx="801912" cy="34136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F9326350-865C-D278-8474-B0FD75A8BE9C}"/>
              </a:ext>
            </a:extLst>
          </p:cNvPr>
          <p:cNvSpPr/>
          <p:nvPr/>
        </p:nvSpPr>
        <p:spPr>
          <a:xfrm>
            <a:off x="7184023" y="657271"/>
            <a:ext cx="801912" cy="34136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2025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9F92AD1-956E-3C85-D675-4F159ED429BD}"/>
              </a:ext>
            </a:extLst>
          </p:cNvPr>
          <p:cNvSpPr/>
          <p:nvPr/>
        </p:nvSpPr>
        <p:spPr>
          <a:xfrm>
            <a:off x="10062276" y="638726"/>
            <a:ext cx="801912" cy="341366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>
                <a:solidFill>
                  <a:schemeClr val="bg1"/>
                </a:solidFill>
              </a:rPr>
              <a:t>2026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1E93019-874B-C2C4-6130-A544970E9B72}"/>
              </a:ext>
            </a:extLst>
          </p:cNvPr>
          <p:cNvCxnSpPr>
            <a:cxnSpLocks/>
          </p:cNvCxnSpPr>
          <p:nvPr/>
        </p:nvCxnSpPr>
        <p:spPr>
          <a:xfrm flipH="1">
            <a:off x="3240053" y="818867"/>
            <a:ext cx="1289" cy="5595582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C61D2F7-338D-1943-45AF-E95921E3EA1B}"/>
              </a:ext>
            </a:extLst>
          </p:cNvPr>
          <p:cNvCxnSpPr>
            <a:cxnSpLocks/>
          </p:cNvCxnSpPr>
          <p:nvPr/>
        </p:nvCxnSpPr>
        <p:spPr>
          <a:xfrm flipH="1">
            <a:off x="6111380" y="818867"/>
            <a:ext cx="1289" cy="5595582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9EFEE4F-05AA-9AC2-28DA-898089E763C6}"/>
              </a:ext>
            </a:extLst>
          </p:cNvPr>
          <p:cNvCxnSpPr>
            <a:cxnSpLocks/>
          </p:cNvCxnSpPr>
          <p:nvPr/>
        </p:nvCxnSpPr>
        <p:spPr>
          <a:xfrm flipH="1">
            <a:off x="9014344" y="818867"/>
            <a:ext cx="1289" cy="5595582"/>
          </a:xfrm>
          <a:prstGeom prst="line">
            <a:avLst/>
          </a:prstGeom>
          <a:ln w="19050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91D6FB9-E234-6792-EA7B-D6EEE263B53E}"/>
              </a:ext>
            </a:extLst>
          </p:cNvPr>
          <p:cNvCxnSpPr>
            <a:cxnSpLocks/>
          </p:cNvCxnSpPr>
          <p:nvPr/>
        </p:nvCxnSpPr>
        <p:spPr>
          <a:xfrm flipH="1">
            <a:off x="4674814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Arrow: Striped Right 31">
            <a:extLst>
              <a:ext uri="{FF2B5EF4-FFF2-40B4-BE49-F238E27FC236}">
                <a16:creationId xmlns:a16="http://schemas.microsoft.com/office/drawing/2014/main" id="{5B07959C-3021-AB40-54D7-F48EB307190D}"/>
              </a:ext>
            </a:extLst>
          </p:cNvPr>
          <p:cNvSpPr/>
          <p:nvPr/>
        </p:nvSpPr>
        <p:spPr>
          <a:xfrm>
            <a:off x="0" y="2966479"/>
            <a:ext cx="10104933" cy="810491"/>
          </a:xfrm>
          <a:prstGeom prst="stripedRightArrow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u="sng"/>
              <a:t>Existing GS Services</a:t>
            </a:r>
          </a:p>
        </p:txBody>
      </p:sp>
      <p:sp>
        <p:nvSpPr>
          <p:cNvPr id="33" name="Arrow: Left-Right 32">
            <a:extLst>
              <a:ext uri="{FF2B5EF4-FFF2-40B4-BE49-F238E27FC236}">
                <a16:creationId xmlns:a16="http://schemas.microsoft.com/office/drawing/2014/main" id="{E024461F-3EFE-4179-A2DB-B40EA0B6DC09}"/>
              </a:ext>
            </a:extLst>
          </p:cNvPr>
          <p:cNvSpPr/>
          <p:nvPr/>
        </p:nvSpPr>
        <p:spPr>
          <a:xfrm>
            <a:off x="3729150" y="4874841"/>
            <a:ext cx="5773584" cy="885127"/>
          </a:xfrm>
          <a:prstGeom prst="leftRightArrow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ASCEND</a:t>
            </a:r>
          </a:p>
        </p:txBody>
      </p:sp>
      <p:pic>
        <p:nvPicPr>
          <p:cNvPr id="35" name="Graphic 34" descr="Rocket outline">
            <a:extLst>
              <a:ext uri="{FF2B5EF4-FFF2-40B4-BE49-F238E27FC236}">
                <a16:creationId xmlns:a16="http://schemas.microsoft.com/office/drawing/2014/main" id="{5A03F5F0-309B-755B-DC3B-ABE57B6135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34520" y="1263755"/>
            <a:ext cx="448056" cy="448056"/>
          </a:xfrm>
          <a:prstGeom prst="rect">
            <a:avLst/>
          </a:prstGeom>
        </p:spPr>
      </p:pic>
      <p:sp>
        <p:nvSpPr>
          <p:cNvPr id="36" name="Arrow: Right 35">
            <a:extLst>
              <a:ext uri="{FF2B5EF4-FFF2-40B4-BE49-F238E27FC236}">
                <a16:creationId xmlns:a16="http://schemas.microsoft.com/office/drawing/2014/main" id="{AEC0F873-3E5B-EABB-1E63-A189AB6529E0}"/>
              </a:ext>
            </a:extLst>
          </p:cNvPr>
          <p:cNvSpPr/>
          <p:nvPr/>
        </p:nvSpPr>
        <p:spPr>
          <a:xfrm>
            <a:off x="4345019" y="1589426"/>
            <a:ext cx="1514165" cy="238281"/>
          </a:xfrm>
          <a:prstGeom prst="rightArrow">
            <a:avLst/>
          </a:prstGeom>
          <a:pattFill prst="pct60">
            <a:fgClr>
              <a:srgbClr val="FFFF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Arrow: Left 37">
            <a:extLst>
              <a:ext uri="{FF2B5EF4-FFF2-40B4-BE49-F238E27FC236}">
                <a16:creationId xmlns:a16="http://schemas.microsoft.com/office/drawing/2014/main" id="{67354F13-73A9-8EA7-0AB1-EC07167804AD}"/>
              </a:ext>
            </a:extLst>
          </p:cNvPr>
          <p:cNvSpPr/>
          <p:nvPr/>
        </p:nvSpPr>
        <p:spPr>
          <a:xfrm>
            <a:off x="5859184" y="1597583"/>
            <a:ext cx="6372000" cy="237600"/>
          </a:xfrm>
          <a:prstGeom prst="leftArrow">
            <a:avLst/>
          </a:prstGeom>
          <a:solidFill>
            <a:srgbClr val="FFFF00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Arrow: Left-Right 38">
            <a:extLst>
              <a:ext uri="{FF2B5EF4-FFF2-40B4-BE49-F238E27FC236}">
                <a16:creationId xmlns:a16="http://schemas.microsoft.com/office/drawing/2014/main" id="{62671F12-7CEA-1853-878E-724D7F36359E}"/>
              </a:ext>
            </a:extLst>
          </p:cNvPr>
          <p:cNvSpPr/>
          <p:nvPr/>
        </p:nvSpPr>
        <p:spPr>
          <a:xfrm>
            <a:off x="3214823" y="4454969"/>
            <a:ext cx="2182533" cy="468000"/>
          </a:xfrm>
          <a:prstGeom prst="left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pic>
        <p:nvPicPr>
          <p:cNvPr id="40" name="Graphic 39" descr="Rocket outline">
            <a:extLst>
              <a:ext uri="{FF2B5EF4-FFF2-40B4-BE49-F238E27FC236}">
                <a16:creationId xmlns:a16="http://schemas.microsoft.com/office/drawing/2014/main" id="{A2F8391F-3AB1-17F5-9F49-EDE7172551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01905" y="1814884"/>
            <a:ext cx="448056" cy="448056"/>
          </a:xfrm>
          <a:prstGeom prst="rect">
            <a:avLst/>
          </a:prstGeom>
        </p:spPr>
      </p:pic>
      <p:sp>
        <p:nvSpPr>
          <p:cNvPr id="41" name="Arrow: Right 40">
            <a:extLst>
              <a:ext uri="{FF2B5EF4-FFF2-40B4-BE49-F238E27FC236}">
                <a16:creationId xmlns:a16="http://schemas.microsoft.com/office/drawing/2014/main" id="{AC993028-BAFB-5C63-3C2C-048C068C7920}"/>
              </a:ext>
            </a:extLst>
          </p:cNvPr>
          <p:cNvSpPr/>
          <p:nvPr/>
        </p:nvSpPr>
        <p:spPr>
          <a:xfrm>
            <a:off x="6204432" y="2133935"/>
            <a:ext cx="1389512" cy="238281"/>
          </a:xfrm>
          <a:prstGeom prst="rightArrow">
            <a:avLst/>
          </a:prstGeom>
          <a:pattFill prst="pct60">
            <a:fgClr>
              <a:srgbClr val="92D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Arrow: Left 41">
            <a:extLst>
              <a:ext uri="{FF2B5EF4-FFF2-40B4-BE49-F238E27FC236}">
                <a16:creationId xmlns:a16="http://schemas.microsoft.com/office/drawing/2014/main" id="{53B18548-31D2-768C-EF07-9580985D56CE}"/>
              </a:ext>
            </a:extLst>
          </p:cNvPr>
          <p:cNvSpPr/>
          <p:nvPr/>
        </p:nvSpPr>
        <p:spPr>
          <a:xfrm>
            <a:off x="7593944" y="2132088"/>
            <a:ext cx="4621082" cy="237600"/>
          </a:xfrm>
          <a:prstGeom prst="leftArrow">
            <a:avLst/>
          </a:prstGeom>
          <a:solidFill>
            <a:srgbClr val="92D050">
              <a:alpha val="64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3F9E070-8579-647E-A92D-663937D13A2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89322">
            <a:off x="3930179" y="1722868"/>
            <a:ext cx="633710" cy="309997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DC091EBC-A00A-AA32-8612-CDC44AD7CF30}"/>
              </a:ext>
            </a:extLst>
          </p:cNvPr>
          <p:cNvCxnSpPr>
            <a:cxnSpLocks/>
          </p:cNvCxnSpPr>
          <p:nvPr/>
        </p:nvCxnSpPr>
        <p:spPr>
          <a:xfrm flipH="1">
            <a:off x="3951051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94BCBF22-D8A0-8159-7EC4-573CDE005F33}"/>
              </a:ext>
            </a:extLst>
          </p:cNvPr>
          <p:cNvCxnSpPr>
            <a:cxnSpLocks/>
          </p:cNvCxnSpPr>
          <p:nvPr/>
        </p:nvCxnSpPr>
        <p:spPr>
          <a:xfrm flipH="1">
            <a:off x="5390326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B94C610-E597-20AD-B224-6A5296959EA0}"/>
              </a:ext>
            </a:extLst>
          </p:cNvPr>
          <p:cNvCxnSpPr>
            <a:cxnSpLocks/>
          </p:cNvCxnSpPr>
          <p:nvPr/>
        </p:nvCxnSpPr>
        <p:spPr>
          <a:xfrm flipH="1">
            <a:off x="1065032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2D2AC56-8AE1-D3F8-D459-380989A3F42C}"/>
              </a:ext>
            </a:extLst>
          </p:cNvPr>
          <p:cNvCxnSpPr>
            <a:cxnSpLocks/>
          </p:cNvCxnSpPr>
          <p:nvPr/>
        </p:nvCxnSpPr>
        <p:spPr>
          <a:xfrm flipH="1">
            <a:off x="1786071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BBC4C5-9A10-1FAE-DF39-AFF75ED9A570}"/>
              </a:ext>
            </a:extLst>
          </p:cNvPr>
          <p:cNvCxnSpPr>
            <a:cxnSpLocks/>
          </p:cNvCxnSpPr>
          <p:nvPr/>
        </p:nvCxnSpPr>
        <p:spPr>
          <a:xfrm flipH="1">
            <a:off x="2503092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CA059BF0-76EE-750A-8E64-91D058751A57}"/>
              </a:ext>
            </a:extLst>
          </p:cNvPr>
          <p:cNvCxnSpPr>
            <a:cxnSpLocks/>
          </p:cNvCxnSpPr>
          <p:nvPr/>
        </p:nvCxnSpPr>
        <p:spPr>
          <a:xfrm flipH="1">
            <a:off x="6837670" y="1019609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33E52C04-41FD-298D-95AA-4C48B3D9D122}"/>
              </a:ext>
            </a:extLst>
          </p:cNvPr>
          <p:cNvCxnSpPr>
            <a:cxnSpLocks/>
          </p:cNvCxnSpPr>
          <p:nvPr/>
        </p:nvCxnSpPr>
        <p:spPr>
          <a:xfrm flipH="1">
            <a:off x="7554665" y="1019609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5F87C4F2-F97E-0819-837C-34FE9ACB0847}"/>
              </a:ext>
            </a:extLst>
          </p:cNvPr>
          <p:cNvCxnSpPr>
            <a:cxnSpLocks/>
          </p:cNvCxnSpPr>
          <p:nvPr/>
        </p:nvCxnSpPr>
        <p:spPr>
          <a:xfrm flipH="1">
            <a:off x="8282380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CCFC06B-5A42-98FC-CB57-3682ACF6956A}"/>
              </a:ext>
            </a:extLst>
          </p:cNvPr>
          <p:cNvCxnSpPr>
            <a:cxnSpLocks/>
          </p:cNvCxnSpPr>
          <p:nvPr/>
        </p:nvCxnSpPr>
        <p:spPr>
          <a:xfrm flipH="1">
            <a:off x="11144438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C2009F04-C72D-E41D-FBF3-F8B90EC252B5}"/>
              </a:ext>
            </a:extLst>
          </p:cNvPr>
          <p:cNvCxnSpPr>
            <a:cxnSpLocks/>
          </p:cNvCxnSpPr>
          <p:nvPr/>
        </p:nvCxnSpPr>
        <p:spPr>
          <a:xfrm flipH="1">
            <a:off x="10416723" y="1045773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4E50595-CE53-D35A-9A6E-82FF6F0F765B}"/>
              </a:ext>
            </a:extLst>
          </p:cNvPr>
          <p:cNvCxnSpPr>
            <a:cxnSpLocks/>
          </p:cNvCxnSpPr>
          <p:nvPr/>
        </p:nvCxnSpPr>
        <p:spPr>
          <a:xfrm flipH="1">
            <a:off x="9723497" y="1019609"/>
            <a:ext cx="814" cy="5368676"/>
          </a:xfrm>
          <a:prstGeom prst="line">
            <a:avLst/>
          </a:prstGeom>
          <a:ln w="12700">
            <a:solidFill>
              <a:schemeClr val="accent6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57">
            <a:extLst>
              <a:ext uri="{FF2B5EF4-FFF2-40B4-BE49-F238E27FC236}">
                <a16:creationId xmlns:a16="http://schemas.microsoft.com/office/drawing/2014/main" id="{386B57A3-E928-C575-0BD4-26AEF72A8E6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1005774" flipH="1" flipV="1">
            <a:off x="5731377" y="2170535"/>
            <a:ext cx="558642" cy="456391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9" name="Arrow: Left 58">
            <a:extLst>
              <a:ext uri="{FF2B5EF4-FFF2-40B4-BE49-F238E27FC236}">
                <a16:creationId xmlns:a16="http://schemas.microsoft.com/office/drawing/2014/main" id="{F544D845-F344-483B-C257-B3F93953D8A3}"/>
              </a:ext>
            </a:extLst>
          </p:cNvPr>
          <p:cNvSpPr/>
          <p:nvPr/>
        </p:nvSpPr>
        <p:spPr>
          <a:xfrm>
            <a:off x="9045184" y="5605350"/>
            <a:ext cx="3168553" cy="810000"/>
          </a:xfrm>
          <a:prstGeom prst="leftArrow">
            <a:avLst/>
          </a:prstGeom>
          <a:solidFill>
            <a:schemeClr val="accent2">
              <a:lumMod val="60000"/>
              <a:lumOff val="40000"/>
              <a:alpha val="64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u="sng"/>
              <a:t>NEW GS SERVICES</a:t>
            </a:r>
          </a:p>
        </p:txBody>
      </p:sp>
      <p:sp>
        <p:nvSpPr>
          <p:cNvPr id="70" name="Arrow: Left-Right 69">
            <a:extLst>
              <a:ext uri="{FF2B5EF4-FFF2-40B4-BE49-F238E27FC236}">
                <a16:creationId xmlns:a16="http://schemas.microsoft.com/office/drawing/2014/main" id="{1506205C-B81A-4715-E672-6864BC60EDEF}"/>
              </a:ext>
            </a:extLst>
          </p:cNvPr>
          <p:cNvSpPr/>
          <p:nvPr/>
        </p:nvSpPr>
        <p:spPr>
          <a:xfrm>
            <a:off x="699423" y="3913117"/>
            <a:ext cx="2886758" cy="252000"/>
          </a:xfrm>
          <a:prstGeom prst="leftRightArrow">
            <a:avLst/>
          </a:prstGeom>
          <a:solidFill>
            <a:srgbClr val="FFCC00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F48CA56-835B-48A5-B6E1-83D469FD5938}"/>
              </a:ext>
            </a:extLst>
          </p:cNvPr>
          <p:cNvSpPr txBox="1"/>
          <p:nvPr/>
        </p:nvSpPr>
        <p:spPr>
          <a:xfrm>
            <a:off x="3327332" y="4230747"/>
            <a:ext cx="30926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b="1">
                <a:solidFill>
                  <a:schemeClr val="bg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GENERIC PROCESSING ORCHESTRATOR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03A431D9-FBBD-1EBF-E927-B2D46AE39C85}"/>
              </a:ext>
            </a:extLst>
          </p:cNvPr>
          <p:cNvSpPr txBox="1"/>
          <p:nvPr/>
        </p:nvSpPr>
        <p:spPr>
          <a:xfrm>
            <a:off x="752503" y="3694510"/>
            <a:ext cx="28867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100" b="1">
                <a:solidFill>
                  <a:schemeClr val="accent3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Data Management  DEMONSTRATORS</a:t>
            </a:r>
          </a:p>
        </p:txBody>
      </p: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198D72EF-EA9B-3DC6-0F9C-B40B4DBB7CB0}"/>
              </a:ext>
            </a:extLst>
          </p:cNvPr>
          <p:cNvSpPr/>
          <p:nvPr/>
        </p:nvSpPr>
        <p:spPr>
          <a:xfrm>
            <a:off x="13788" y="1076907"/>
            <a:ext cx="9009164" cy="237600"/>
          </a:xfrm>
          <a:prstGeom prst="rightArrow">
            <a:avLst/>
          </a:prstGeom>
          <a:solidFill>
            <a:schemeClr val="accent3">
              <a:lumMod val="7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Arrow: Left 74">
            <a:extLst>
              <a:ext uri="{FF2B5EF4-FFF2-40B4-BE49-F238E27FC236}">
                <a16:creationId xmlns:a16="http://schemas.microsoft.com/office/drawing/2014/main" id="{0F10A1E3-3070-5344-F878-BBDDA121B553}"/>
              </a:ext>
            </a:extLst>
          </p:cNvPr>
          <p:cNvSpPr/>
          <p:nvPr/>
        </p:nvSpPr>
        <p:spPr>
          <a:xfrm>
            <a:off x="9007290" y="1073469"/>
            <a:ext cx="3204260" cy="235753"/>
          </a:xfrm>
          <a:prstGeom prst="leftArrow">
            <a:avLst/>
          </a:prstGeom>
          <a:pattFill prst="dkUpDiag">
            <a:fgClr>
              <a:schemeClr val="accent3">
                <a:lumMod val="7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63B49276-7300-A89B-45F2-5C2340367AD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42336">
            <a:off x="521080" y="1067961"/>
            <a:ext cx="549907" cy="506987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6495C642-B02A-F841-8FCD-9E1C8627AFB2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28876">
            <a:off x="-26248" y="1015498"/>
            <a:ext cx="752102" cy="360544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78" name="Group 77">
            <a:extLst>
              <a:ext uri="{FF2B5EF4-FFF2-40B4-BE49-F238E27FC236}">
                <a16:creationId xmlns:a16="http://schemas.microsoft.com/office/drawing/2014/main" id="{6A25D447-DFAB-CFD2-CD24-0A329A666DD9}"/>
              </a:ext>
            </a:extLst>
          </p:cNvPr>
          <p:cNvGrpSpPr/>
          <p:nvPr/>
        </p:nvGrpSpPr>
        <p:grpSpPr>
          <a:xfrm>
            <a:off x="374697" y="685614"/>
            <a:ext cx="1638929" cy="584814"/>
            <a:chOff x="6667066" y="4284733"/>
            <a:chExt cx="1638929" cy="1169628"/>
          </a:xfr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F206DAA4-857F-1C6C-0604-24766EB5FF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6982309" y="3969490"/>
              <a:ext cx="1008444" cy="1638929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F5CA75EC-B4AA-293A-3658-CC67B20BA5A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4958863">
              <a:off x="6817411" y="4388142"/>
              <a:ext cx="584155" cy="695721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71CDE3C0-122A-9A98-C30F-EB9271118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4958863">
              <a:off x="7049135" y="4720323"/>
              <a:ext cx="670052" cy="798023"/>
            </a:xfrm>
            <a:prstGeom prst="rect">
              <a:avLst/>
            </a:prstGeom>
          </p:spPr>
        </p:pic>
      </p:grpSp>
      <p:sp>
        <p:nvSpPr>
          <p:cNvPr id="82" name="Arrow: Right 81">
            <a:extLst>
              <a:ext uri="{FF2B5EF4-FFF2-40B4-BE49-F238E27FC236}">
                <a16:creationId xmlns:a16="http://schemas.microsoft.com/office/drawing/2014/main" id="{48487890-33F0-FE56-326A-54B1C4A80A36}"/>
              </a:ext>
            </a:extLst>
          </p:cNvPr>
          <p:cNvSpPr/>
          <p:nvPr/>
        </p:nvSpPr>
        <p:spPr>
          <a:xfrm>
            <a:off x="-2139" y="1568869"/>
            <a:ext cx="1511099" cy="231706"/>
          </a:xfrm>
          <a:prstGeom prst="rightArrow">
            <a:avLst/>
          </a:prstGeom>
          <a:solidFill>
            <a:schemeClr val="accent3">
              <a:lumMod val="7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3" name="Picture 82">
            <a:extLst>
              <a:ext uri="{FF2B5EF4-FFF2-40B4-BE49-F238E27FC236}">
                <a16:creationId xmlns:a16="http://schemas.microsoft.com/office/drawing/2014/main" id="{864B5C15-B8BC-0445-A710-FA31E13A3F8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21241785">
            <a:off x="382317" y="1561230"/>
            <a:ext cx="725495" cy="521253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E8C511D-C5EA-A942-9FAA-EA1EA5DB2939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0490">
            <a:off x="10112932" y="2411152"/>
            <a:ext cx="672116" cy="419563"/>
          </a:xfrm>
          <a:prstGeom prst="rect">
            <a:avLst/>
          </a:prstGeom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Left Brace 3">
            <a:extLst>
              <a:ext uri="{FF2B5EF4-FFF2-40B4-BE49-F238E27FC236}">
                <a16:creationId xmlns:a16="http://schemas.microsoft.com/office/drawing/2014/main" id="{08A471BA-4EF6-60FC-2BD0-D8CAEF61A423}"/>
              </a:ext>
            </a:extLst>
          </p:cNvPr>
          <p:cNvSpPr/>
          <p:nvPr/>
        </p:nvSpPr>
        <p:spPr>
          <a:xfrm>
            <a:off x="2952373" y="4314530"/>
            <a:ext cx="355882" cy="1445438"/>
          </a:xfrm>
          <a:prstGeom prst="leftBrace">
            <a:avLst/>
          </a:prstGeom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12F15DD8-298D-F663-78C1-DE8F58B1C856}"/>
              </a:ext>
            </a:extLst>
          </p:cNvPr>
          <p:cNvSpPr/>
          <p:nvPr/>
        </p:nvSpPr>
        <p:spPr>
          <a:xfrm>
            <a:off x="9016609" y="4591769"/>
            <a:ext cx="2124000" cy="194400"/>
          </a:xfrm>
          <a:prstGeom prst="rightArrow">
            <a:avLst/>
          </a:prstGeom>
          <a:solidFill>
            <a:schemeClr val="accent5">
              <a:lumMod val="60000"/>
              <a:lumOff val="40000"/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9" name="Arrow: Left-Right 68">
            <a:extLst>
              <a:ext uri="{FF2B5EF4-FFF2-40B4-BE49-F238E27FC236}">
                <a16:creationId xmlns:a16="http://schemas.microsoft.com/office/drawing/2014/main" id="{5A73CD05-57E2-4EDF-215F-43EB4A51AA8E}"/>
              </a:ext>
            </a:extLst>
          </p:cNvPr>
          <p:cNvSpPr/>
          <p:nvPr/>
        </p:nvSpPr>
        <p:spPr>
          <a:xfrm>
            <a:off x="5397356" y="4584478"/>
            <a:ext cx="3625596" cy="195962"/>
          </a:xfrm>
          <a:prstGeom prst="leftRightArrow">
            <a:avLst/>
          </a:prstGeom>
          <a:solidFill>
            <a:schemeClr val="accent5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043C279-F141-7FA5-1800-DCC2393C14FE}"/>
              </a:ext>
            </a:extLst>
          </p:cNvPr>
          <p:cNvSpPr txBox="1"/>
          <p:nvPr/>
        </p:nvSpPr>
        <p:spPr>
          <a:xfrm>
            <a:off x="1742414" y="4741902"/>
            <a:ext cx="1341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PRECURSOR</a:t>
            </a:r>
          </a:p>
          <a:p>
            <a:pPr algn="ctr"/>
            <a:r>
              <a:rPr lang="en-GB" sz="1400" b="1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SERVICES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C45500B-B834-E95F-CF81-C846BF037E79}"/>
              </a:ext>
            </a:extLst>
          </p:cNvPr>
          <p:cNvSpPr/>
          <p:nvPr/>
        </p:nvSpPr>
        <p:spPr>
          <a:xfrm>
            <a:off x="3594025" y="3939252"/>
            <a:ext cx="2500485" cy="211079"/>
          </a:xfrm>
          <a:prstGeom prst="rightArrow">
            <a:avLst/>
          </a:prstGeom>
          <a:solidFill>
            <a:srgbClr val="FFCC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00425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7B71DC-28BD-4E2F-9E89-C4253A80D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54800"/>
            <a:ext cx="10108800" cy="565200"/>
          </a:xfrm>
        </p:spPr>
        <p:txBody>
          <a:bodyPr wrap="square" anchor="ctr">
            <a:normAutofit/>
          </a:bodyPr>
          <a:lstStyle/>
          <a:p>
            <a:r>
              <a:rPr lang="en-GB"/>
              <a:t>Overview</a:t>
            </a:r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C7B63838-FE22-185E-DBB0-435D79B595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93534512"/>
              </p:ext>
            </p:extLst>
          </p:nvPr>
        </p:nvGraphicFramePr>
        <p:xfrm>
          <a:off x="219600" y="882000"/>
          <a:ext cx="11795828" cy="53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21810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F11BA9B5-7344-90AD-1BAE-A2EE5BEC4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Access (3 steps)</a:t>
            </a:r>
          </a:p>
        </p:txBody>
      </p:sp>
      <p:pic>
        <p:nvPicPr>
          <p:cNvPr id="5" name="Picture 8">
            <a:extLst>
              <a:ext uri="{FF2B5EF4-FFF2-40B4-BE49-F238E27FC236}">
                <a16:creationId xmlns:a16="http://schemas.microsoft.com/office/drawing/2014/main" id="{ADA7953D-CBB8-2A3A-96B9-128797FC65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" t="1" r="30632" b="3"/>
          <a:stretch/>
        </p:blipFill>
        <p:spPr bwMode="auto">
          <a:xfrm>
            <a:off x="4148135" y="1492408"/>
            <a:ext cx="3935828" cy="2095035"/>
          </a:xfrm>
          <a:prstGeom prst="roundRect">
            <a:avLst/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C6A7BBD-6FD1-BAE2-0FBE-331EEADEBA24}"/>
              </a:ext>
            </a:extLst>
          </p:cNvPr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8" t="-503" r="258" b="33887"/>
          <a:stretch/>
        </p:blipFill>
        <p:spPr>
          <a:xfrm>
            <a:off x="147410" y="1523783"/>
            <a:ext cx="3908292" cy="2075612"/>
          </a:xfrm>
          <a:prstGeom prst="roundRect">
            <a:avLst>
              <a:gd name="adj" fmla="val 8940"/>
            </a:avLst>
          </a:prstGeom>
          <a:ln w="3175">
            <a:solidFill>
              <a:schemeClr val="bg1"/>
            </a:solidFill>
          </a:ln>
        </p:spPr>
      </p:pic>
      <p:sp>
        <p:nvSpPr>
          <p:cNvPr id="7" name="Rounded Rectangle 12">
            <a:extLst>
              <a:ext uri="{FF2B5EF4-FFF2-40B4-BE49-F238E27FC236}">
                <a16:creationId xmlns:a16="http://schemas.microsoft.com/office/drawing/2014/main" id="{F701460B-72A4-A672-F6D3-DBD5C29B404C}"/>
              </a:ext>
            </a:extLst>
          </p:cNvPr>
          <p:cNvSpPr/>
          <p:nvPr/>
        </p:nvSpPr>
        <p:spPr>
          <a:xfrm>
            <a:off x="124079" y="3211266"/>
            <a:ext cx="3935999" cy="2941857"/>
          </a:xfrm>
          <a:prstGeom prst="roundRect">
            <a:avLst>
              <a:gd name="adj" fmla="val 8703"/>
            </a:avLst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49" rIns="0" bIns="60949" rtlCol="0" anchor="ctr" anchorCtr="0"/>
          <a:lstStyle/>
          <a:p>
            <a:pPr marL="88596" algn="ctr" eaLnBrk="0" hangingPunct="0">
              <a:spcBef>
                <a:spcPts val="1600"/>
              </a:spcBef>
              <a:buClr>
                <a:srgbClr val="FFFFFF"/>
              </a:buClr>
              <a:defRPr/>
            </a:pPr>
            <a:endParaRPr lang="en-GB" sz="4267" b="1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ounded Rectangle 15">
            <a:extLst>
              <a:ext uri="{FF2B5EF4-FFF2-40B4-BE49-F238E27FC236}">
                <a16:creationId xmlns:a16="http://schemas.microsoft.com/office/drawing/2014/main" id="{131C2C4B-BD88-8D30-88C1-A89AD1CF6411}"/>
              </a:ext>
            </a:extLst>
          </p:cNvPr>
          <p:cNvSpPr/>
          <p:nvPr/>
        </p:nvSpPr>
        <p:spPr>
          <a:xfrm>
            <a:off x="4133929" y="3207482"/>
            <a:ext cx="3958941" cy="2941857"/>
          </a:xfrm>
          <a:prstGeom prst="roundRect">
            <a:avLst>
              <a:gd name="adj" fmla="val 8703"/>
            </a:avLst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49" rIns="0" bIns="60949" rtlCol="0" anchor="ctr" anchorCtr="0"/>
          <a:lstStyle/>
          <a:p>
            <a:pPr marL="88596" algn="ctr" defTabSz="1219170" eaLnBrk="0" hangingPunct="0">
              <a:spcBef>
                <a:spcPts val="1600"/>
              </a:spcBef>
              <a:buClr>
                <a:srgbClr val="FFFFFF"/>
              </a:buClr>
              <a:defRPr/>
            </a:pPr>
            <a:endParaRPr lang="en-GB" sz="4267" b="1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1B0982-BFAC-FBA5-4617-7EF003AD1468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2" r="7972"/>
          <a:stretch/>
        </p:blipFill>
        <p:spPr>
          <a:xfrm>
            <a:off x="2679080" y="1593203"/>
            <a:ext cx="1311771" cy="1477375"/>
          </a:xfrm>
          <a:prstGeom prst="roundRect">
            <a:avLst>
              <a:gd name="adj" fmla="val 8940"/>
            </a:avLst>
          </a:prstGeom>
          <a:ln w="3175">
            <a:solidFill>
              <a:schemeClr val="bg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F7B0B34-5F56-A9C3-1A7F-947F59D77F76}"/>
              </a:ext>
            </a:extLst>
          </p:cNvPr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0" r="6250"/>
          <a:stretch/>
        </p:blipFill>
        <p:spPr>
          <a:xfrm>
            <a:off x="8187622" y="1507978"/>
            <a:ext cx="3940627" cy="1921023"/>
          </a:xfrm>
          <a:prstGeom prst="roundRect">
            <a:avLst>
              <a:gd name="adj" fmla="val 10690"/>
            </a:avLst>
          </a:prstGeom>
          <a:ln>
            <a:noFill/>
          </a:ln>
        </p:spPr>
      </p:pic>
      <p:sp>
        <p:nvSpPr>
          <p:cNvPr id="13" name="Rounded Rectangle 14">
            <a:extLst>
              <a:ext uri="{FF2B5EF4-FFF2-40B4-BE49-F238E27FC236}">
                <a16:creationId xmlns:a16="http://schemas.microsoft.com/office/drawing/2014/main" id="{83567AA6-C224-7473-ADEF-63CFEE9B0170}"/>
              </a:ext>
            </a:extLst>
          </p:cNvPr>
          <p:cNvSpPr/>
          <p:nvPr/>
        </p:nvSpPr>
        <p:spPr>
          <a:xfrm>
            <a:off x="8158443" y="3207482"/>
            <a:ext cx="3958941" cy="2941857"/>
          </a:xfrm>
          <a:prstGeom prst="roundRect">
            <a:avLst>
              <a:gd name="adj" fmla="val 8703"/>
            </a:avLst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0949" rIns="0" bIns="60949" rtlCol="0" anchor="ctr" anchorCtr="0"/>
          <a:lstStyle/>
          <a:p>
            <a:pPr marL="88596" algn="ctr" eaLnBrk="0" hangingPunct="0">
              <a:spcBef>
                <a:spcPct val="20000"/>
              </a:spcBef>
              <a:buClr>
                <a:srgbClr val="FFFFFF"/>
              </a:buClr>
              <a:defRPr/>
            </a:pPr>
            <a:endParaRPr lang="en-US" sz="4267" b="1">
              <a:solidFill>
                <a:srgbClr val="FFFFFF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ight Arrow 10">
            <a:extLst>
              <a:ext uri="{FF2B5EF4-FFF2-40B4-BE49-F238E27FC236}">
                <a16:creationId xmlns:a16="http://schemas.microsoft.com/office/drawing/2014/main" id="{5AB656BE-11AE-3A5B-91F8-24F37BB72C05}"/>
              </a:ext>
            </a:extLst>
          </p:cNvPr>
          <p:cNvSpPr/>
          <p:nvPr/>
        </p:nvSpPr>
        <p:spPr>
          <a:xfrm>
            <a:off x="3354392" y="2941308"/>
            <a:ext cx="1497759" cy="584048"/>
          </a:xfrm>
          <a:prstGeom prst="rightArrow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8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sp>
        <p:nvSpPr>
          <p:cNvPr id="15" name="Right Arrow 10">
            <a:extLst>
              <a:ext uri="{FF2B5EF4-FFF2-40B4-BE49-F238E27FC236}">
                <a16:creationId xmlns:a16="http://schemas.microsoft.com/office/drawing/2014/main" id="{A82F9847-0691-CFC6-8DDB-A2F07A4498D3}"/>
              </a:ext>
            </a:extLst>
          </p:cNvPr>
          <p:cNvSpPr/>
          <p:nvPr/>
        </p:nvSpPr>
        <p:spPr>
          <a:xfrm>
            <a:off x="7520224" y="2931853"/>
            <a:ext cx="1497759" cy="584048"/>
          </a:xfrm>
          <a:prstGeom prst="rightArrow">
            <a:avLst/>
          </a:prstGeom>
          <a:solidFill>
            <a:srgbClr val="FFFF00"/>
          </a:solidFill>
          <a:ln w="25400" cap="flat" cmpd="sng" algn="ctr">
            <a:noFill/>
            <a:prstDash val="solid"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121887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2A0C030E-47C6-878D-56F2-6592708061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346840"/>
              </p:ext>
            </p:extLst>
          </p:nvPr>
        </p:nvGraphicFramePr>
        <p:xfrm>
          <a:off x="-109466" y="3875024"/>
          <a:ext cx="12089533" cy="24260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0943">
                  <a:extLst>
                    <a:ext uri="{9D8B030D-6E8A-4147-A177-3AD203B41FA5}">
                      <a16:colId xmlns:a16="http://schemas.microsoft.com/office/drawing/2014/main" val="3559317733"/>
                    </a:ext>
                  </a:extLst>
                </a:gridCol>
                <a:gridCol w="4060945">
                  <a:extLst>
                    <a:ext uri="{9D8B030D-6E8A-4147-A177-3AD203B41FA5}">
                      <a16:colId xmlns:a16="http://schemas.microsoft.com/office/drawing/2014/main" val="3665946104"/>
                    </a:ext>
                  </a:extLst>
                </a:gridCol>
                <a:gridCol w="3967645">
                  <a:extLst>
                    <a:ext uri="{9D8B030D-6E8A-4147-A177-3AD203B41FA5}">
                      <a16:colId xmlns:a16="http://schemas.microsoft.com/office/drawing/2014/main" val="4010469683"/>
                    </a:ext>
                  </a:extLst>
                </a:gridCol>
              </a:tblGrid>
              <a:tr h="242608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IE" sz="3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</a:t>
                      </a:r>
                      <a:r>
                        <a:rPr kumimoji="0" lang="en-GB" sz="2700" b="1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rch</a:t>
                      </a:r>
                      <a:r>
                        <a:rPr kumimoji="0" lang="en-GB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ngines</a:t>
                      </a:r>
                    </a:p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100" b="0" i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Optimized</a:t>
                      </a:r>
                      <a:endParaRPr kumimoji="0" lang="en-GB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GB" sz="2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ing highly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48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0" lang="en-GB" sz="2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kumimoji="0" lang="en-GB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ebsite</a:t>
                      </a:r>
                    </a:p>
                    <a:p>
                      <a:pPr marL="342900" indent="-342900" algn="ctr"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2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ear and concise information</a:t>
                      </a:r>
                    </a:p>
                    <a:p>
                      <a:pPr marL="342900" indent="-342900" algn="ctr">
                        <a:buFont typeface="Arial" panose="020B0604020202020204" pitchFamily="34" charset="0"/>
                        <a:buChar char="•"/>
                      </a:pPr>
                      <a:r>
                        <a:rPr kumimoji="0" lang="en-GB" sz="2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efined user experience </a:t>
                      </a:r>
                    </a:p>
                    <a:p>
                      <a:pPr marL="285750" indent="-285750" algn="ctr">
                        <a:buFont typeface="Arial" panose="020B0604020202020204" pitchFamily="34" charset="0"/>
                        <a:buChar char="•"/>
                      </a:pPr>
                      <a:endParaRPr kumimoji="0" lang="en-GB" sz="2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E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ata Discovery</a:t>
                      </a:r>
                      <a:br>
                        <a:rPr kumimoji="0" lang="en-IE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IE" sz="27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d Download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IE" sz="2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vigating to most direct download/request point</a:t>
                      </a:r>
                    </a:p>
                    <a:p>
                      <a:pPr marL="342900" marR="0" lvl="0" indent="-3429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IE" sz="2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pen data quickly downloadable</a:t>
                      </a:r>
                      <a:endParaRPr kumimoji="0" lang="en-US" sz="21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00553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3606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Afbeeldingsresultaat voor anthropoce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4" y="0"/>
            <a:ext cx="1219037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9AB3E7CB-97F2-3446-9C5C-A45C3D71AA2E}"/>
              </a:ext>
            </a:extLst>
          </p:cNvPr>
          <p:cNvGrpSpPr>
            <a:grpSpLocks noChangeAspect="1"/>
          </p:cNvGrpSpPr>
          <p:nvPr/>
        </p:nvGrpSpPr>
        <p:grpSpPr>
          <a:xfrm>
            <a:off x="238090" y="6553160"/>
            <a:ext cx="8438793" cy="131037"/>
            <a:chOff x="226688" y="6572055"/>
            <a:chExt cx="9280921" cy="144114"/>
          </a:xfrm>
        </p:grpSpPr>
        <p:pic>
          <p:nvPicPr>
            <p:cNvPr id="37" name="Picture 36" descr="at.png">
              <a:extLst>
                <a:ext uri="{FF2B5EF4-FFF2-40B4-BE49-F238E27FC236}">
                  <a16:creationId xmlns:a16="http://schemas.microsoft.com/office/drawing/2014/main" id="{613E8D1F-FF74-2F4D-A3BC-A83AFA4778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688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8" name="Picture 37" descr="be.png">
              <a:extLst>
                <a:ext uri="{FF2B5EF4-FFF2-40B4-BE49-F238E27FC236}">
                  <a16:creationId xmlns:a16="http://schemas.microsoft.com/office/drawing/2014/main" id="{F3BFA576-03B7-A94F-84CE-DAE0139B43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7100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39" name="Picture 38" descr="ch.png">
              <a:extLst>
                <a:ext uri="{FF2B5EF4-FFF2-40B4-BE49-F238E27FC236}">
                  <a16:creationId xmlns:a16="http://schemas.microsoft.com/office/drawing/2014/main" id="{EA96CC26-926E-5944-A3B6-B47250B35C9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2002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0" name="Picture 39" descr="cz.png">
              <a:extLst>
                <a:ext uri="{FF2B5EF4-FFF2-40B4-BE49-F238E27FC236}">
                  <a16:creationId xmlns:a16="http://schemas.microsoft.com/office/drawing/2014/main" id="{879A7BA5-1E37-3D4A-93EC-2F65289AB94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0446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1" name="Picture 40" descr="de.png">
              <a:extLst>
                <a:ext uri="{FF2B5EF4-FFF2-40B4-BE49-F238E27FC236}">
                  <a16:creationId xmlns:a16="http://schemas.microsoft.com/office/drawing/2014/main" id="{36AA8E7E-C4F1-974F-8401-365781A9A1F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30886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2" name="Picture 41" descr="dk.png">
              <a:extLst>
                <a:ext uri="{FF2B5EF4-FFF2-40B4-BE49-F238E27FC236}">
                  <a16:creationId xmlns:a16="http://schemas.microsoft.com/office/drawing/2014/main" id="{313ADF72-48C0-774D-88A7-0AB0BB5BF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0468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3" name="Picture 42" descr="ee.png">
              <a:extLst>
                <a:ext uri="{FF2B5EF4-FFF2-40B4-BE49-F238E27FC236}">
                  <a16:creationId xmlns:a16="http://schemas.microsoft.com/office/drawing/2014/main" id="{3D124119-0585-A84A-9659-132A66039D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10886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4" name="Picture 43" descr="es.png">
              <a:extLst>
                <a:ext uri="{FF2B5EF4-FFF2-40B4-BE49-F238E27FC236}">
                  <a16:creationId xmlns:a16="http://schemas.microsoft.com/office/drawing/2014/main" id="{3E3AD752-8E4C-1149-9B3D-2D3FE9A3D0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09231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5" name="Picture 44" descr="fi.png">
              <a:extLst>
                <a:ext uri="{FF2B5EF4-FFF2-40B4-BE49-F238E27FC236}">
                  <a16:creationId xmlns:a16="http://schemas.microsoft.com/office/drawing/2014/main" id="{272A5283-DA15-5D4F-8E7D-C5BCA274353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88120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6" name="Picture 45" descr="fr.png">
              <a:extLst>
                <a:ext uri="{FF2B5EF4-FFF2-40B4-BE49-F238E27FC236}">
                  <a16:creationId xmlns:a16="http://schemas.microsoft.com/office/drawing/2014/main" id="{FB17E077-EAB3-2E48-869B-351ABBEBF9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56977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7" name="Picture 46" descr="gr.png">
              <a:extLst>
                <a:ext uri="{FF2B5EF4-FFF2-40B4-BE49-F238E27FC236}">
                  <a16:creationId xmlns:a16="http://schemas.microsoft.com/office/drawing/2014/main" id="{C3DEAF3B-CEAA-B249-926E-2A109F31230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99746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8" name="Picture 47" descr="hu.png">
              <a:extLst>
                <a:ext uri="{FF2B5EF4-FFF2-40B4-BE49-F238E27FC236}">
                  <a16:creationId xmlns:a16="http://schemas.microsoft.com/office/drawing/2014/main" id="{C93D330E-3890-6642-AA3A-455C613DFD0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68607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49" name="Picture 48" descr="ie.png">
              <a:extLst>
                <a:ext uri="{FF2B5EF4-FFF2-40B4-BE49-F238E27FC236}">
                  <a16:creationId xmlns:a16="http://schemas.microsoft.com/office/drawing/2014/main" id="{65C444DC-56C1-5947-919D-5BBC372D5CB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7466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0" name="Picture 49" descr="it.png">
              <a:extLst>
                <a:ext uri="{FF2B5EF4-FFF2-40B4-BE49-F238E27FC236}">
                  <a16:creationId xmlns:a16="http://schemas.microsoft.com/office/drawing/2014/main" id="{3229C7F1-4570-DD42-B561-7DCD9E9DC2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06322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1" name="Picture 50" descr="lu.png">
              <a:extLst>
                <a:ext uri="{FF2B5EF4-FFF2-40B4-BE49-F238E27FC236}">
                  <a16:creationId xmlns:a16="http://schemas.microsoft.com/office/drawing/2014/main" id="{D222FB82-3821-A043-9813-AE10FDC8999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6775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2" name="Picture 51" descr="nl.png">
              <a:extLst>
                <a:ext uri="{FF2B5EF4-FFF2-40B4-BE49-F238E27FC236}">
                  <a16:creationId xmlns:a16="http://schemas.microsoft.com/office/drawing/2014/main" id="{47D77279-3F6D-C040-84C7-2FD63984786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50684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3" name="Picture 52" descr="no.png">
              <a:extLst>
                <a:ext uri="{FF2B5EF4-FFF2-40B4-BE49-F238E27FC236}">
                  <a16:creationId xmlns:a16="http://schemas.microsoft.com/office/drawing/2014/main" id="{7752CABF-8AF0-CB43-828B-6D5E37E6D6D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28051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4" name="Picture 53" descr="pl.png">
              <a:extLst>
                <a:ext uri="{FF2B5EF4-FFF2-40B4-BE49-F238E27FC236}">
                  <a16:creationId xmlns:a16="http://schemas.microsoft.com/office/drawing/2014/main" id="{71099EA9-0578-6046-96BB-78BC2E477B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95181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5" name="Picture 54" descr="pt.png">
              <a:extLst>
                <a:ext uri="{FF2B5EF4-FFF2-40B4-BE49-F238E27FC236}">
                  <a16:creationId xmlns:a16="http://schemas.microsoft.com/office/drawing/2014/main" id="{C83B7B8F-CFE0-B143-9922-E6826FF282F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7359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6" name="Picture 55" descr="ro.png">
              <a:extLst>
                <a:ext uri="{FF2B5EF4-FFF2-40B4-BE49-F238E27FC236}">
                  <a16:creationId xmlns:a16="http://schemas.microsoft.com/office/drawing/2014/main" id="{BC06743C-1696-CA45-9560-4E712219AE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1267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7" name="Picture 56" descr="se.png">
              <a:extLst>
                <a:ext uri="{FF2B5EF4-FFF2-40B4-BE49-F238E27FC236}">
                  <a16:creationId xmlns:a16="http://schemas.microsoft.com/office/drawing/2014/main" id="{DC90D90D-FDE8-AE4C-B688-FD569CB50F7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79811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8" name="Picture 57" descr="uk.png">
              <a:extLst>
                <a:ext uri="{FF2B5EF4-FFF2-40B4-BE49-F238E27FC236}">
                  <a16:creationId xmlns:a16="http://schemas.microsoft.com/office/drawing/2014/main" id="{7D6B4178-9C8C-AC43-B421-EED6833172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7547" y="6572055"/>
              <a:ext cx="217977" cy="144114"/>
            </a:xfrm>
            <a:prstGeom prst="rect">
              <a:avLst/>
            </a:prstGeom>
            <a:ln>
              <a:noFill/>
            </a:ln>
          </p:spPr>
        </p:pic>
        <p:pic>
          <p:nvPicPr>
            <p:cNvPr id="59" name="Picture 58" descr="ca.png">
              <a:extLst>
                <a:ext uri="{FF2B5EF4-FFF2-40B4-BE49-F238E27FC236}">
                  <a16:creationId xmlns:a16="http://schemas.microsoft.com/office/drawing/2014/main" id="{2DB5F68F-FF60-194A-8E9A-C97D1A2E29F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91609" y="6573362"/>
              <a:ext cx="216000" cy="14280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3BB5E95E-331E-044A-BECF-89B3DB11C7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55553" y="6572169"/>
              <a:ext cx="216000" cy="144000"/>
            </a:xfrm>
            <a:prstGeom prst="rect">
              <a:avLst/>
            </a:prstGeom>
          </p:spPr>
        </p:pic>
        <p:pic>
          <p:nvPicPr>
            <p:cNvPr id="61" name="Picture 60" descr="si.png">
              <a:extLst>
                <a:ext uri="{FF2B5EF4-FFF2-40B4-BE49-F238E27FC236}">
                  <a16:creationId xmlns:a16="http://schemas.microsoft.com/office/drawing/2014/main" id="{E0D43740-4F80-CD40-8F62-E70F19CD6A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8090" y="6572513"/>
              <a:ext cx="217284" cy="143656"/>
            </a:xfrm>
            <a:prstGeom prst="rect">
              <a:avLst/>
            </a:prstGeom>
          </p:spPr>
        </p:pic>
      </p:grpSp>
      <p:pic>
        <p:nvPicPr>
          <p:cNvPr id="62" name="Picture 61">
            <a:extLst>
              <a:ext uri="{FF2B5EF4-FFF2-40B4-BE49-F238E27FC236}">
                <a16:creationId xmlns:a16="http://schemas.microsoft.com/office/drawing/2014/main" id="{0CE3E7AD-C456-934B-8BE6-B3F4A9D22274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473" y="6556081"/>
            <a:ext cx="2182560" cy="141224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34D5E963-47C9-754B-9895-D1D8656C6AFE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lum bright="70000" contrast="-70000"/>
            <a:extLst>
              <a:ext uri="{BEBA8EAE-BF5A-486C-A8C5-ECC9F3942E4B}">
                <a14:imgProps xmlns:a14="http://schemas.microsoft.com/office/drawing/2010/main">
                  <a14:imgLayer>
                    <a14:imgEffect>
                      <a14:artisticPhotocopy/>
                    </a14:imgEffect>
                  </a14:imgLayer>
                </a14:imgProps>
              </a:ext>
            </a:extLst>
          </a:blip>
          <a:srcRect l="16733" t="28956" r="16294" b="28994"/>
          <a:stretch/>
        </p:blipFill>
        <p:spPr>
          <a:xfrm>
            <a:off x="10718537" y="121921"/>
            <a:ext cx="1409713" cy="555415"/>
          </a:xfrm>
          <a:prstGeom prst="rect">
            <a:avLst/>
          </a:prstGeom>
        </p:spPr>
      </p:pic>
      <p:pic>
        <p:nvPicPr>
          <p:cNvPr id="5" name="Picture 4" descr="A screenshot of a screenshot of a website&#10;&#10;Description automatically generated">
            <a:extLst>
              <a:ext uri="{FF2B5EF4-FFF2-40B4-BE49-F238E27FC236}">
                <a16:creationId xmlns:a16="http://schemas.microsoft.com/office/drawing/2014/main" id="{0623A88E-D085-7010-A445-64473E1824F7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7676" y="4820250"/>
            <a:ext cx="5535717" cy="1584796"/>
          </a:xfrm>
          <a:prstGeom prst="roundRect">
            <a:avLst/>
          </a:prstGeom>
        </p:spPr>
      </p:pic>
      <p:sp>
        <p:nvSpPr>
          <p:cNvPr id="9" name="Rounded Rectangle 103">
            <a:extLst>
              <a:ext uri="{FF2B5EF4-FFF2-40B4-BE49-F238E27FC236}">
                <a16:creationId xmlns:a16="http://schemas.microsoft.com/office/drawing/2014/main" id="{86D0F9F4-1DD4-18EA-C9AC-24FA32DA8433}"/>
              </a:ext>
            </a:extLst>
          </p:cNvPr>
          <p:cNvSpPr/>
          <p:nvPr/>
        </p:nvSpPr>
        <p:spPr>
          <a:xfrm>
            <a:off x="8184533" y="677335"/>
            <a:ext cx="4034040" cy="5702439"/>
          </a:xfrm>
          <a:prstGeom prst="roundRect">
            <a:avLst>
              <a:gd name="adj" fmla="val 10439"/>
            </a:avLst>
          </a:prstGeom>
          <a:solidFill>
            <a:srgbClr val="02C4AA">
              <a:alpha val="10000"/>
            </a:srgbClr>
          </a:solidFill>
          <a:ln w="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ission information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Technical report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a information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ata access and tool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uccess storie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potlight on EO Community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ews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highlight>
                  <a:srgbClr val="80808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457189" indent="-457189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IE">
                <a:solidFill>
                  <a:srgbClr val="F8FFC9"/>
                </a:solidFill>
                <a:effectLst>
                  <a:outerShdw blurRad="50800" dist="50800" dir="5400000" algn="ctr" rotWithShape="0">
                    <a:schemeClr val="accent1">
                      <a:lumMod val="5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ctivities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endParaRPr lang="en-IE" sz="2667">
              <a:solidFill>
                <a:schemeClr val="bg1"/>
              </a:solidFill>
              <a:highlight>
                <a:srgbClr val="80808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en-IE" sz="2667">
              <a:solidFill>
                <a:srgbClr val="02C4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189" indent="-457189">
              <a:buFont typeface="Arial" panose="020B0604020202020204" pitchFamily="34" charset="0"/>
              <a:buChar char="•"/>
            </a:pPr>
            <a:endParaRPr lang="en-GB" sz="2667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screenshot of a website&#10;&#10;Description automatically generated">
            <a:extLst>
              <a:ext uri="{FF2B5EF4-FFF2-40B4-BE49-F238E27FC236}">
                <a16:creationId xmlns:a16="http://schemas.microsoft.com/office/drawing/2014/main" id="{87074AED-68CE-5CD2-4C10-0740318D89AE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68" y="4530995"/>
            <a:ext cx="5788343" cy="1648117"/>
          </a:xfrm>
          <a:prstGeom prst="round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D09A6B-07BE-C782-60A1-657CB0B4D7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arth Online (earth.esa.int)</a:t>
            </a:r>
          </a:p>
        </p:txBody>
      </p:sp>
      <p:pic>
        <p:nvPicPr>
          <p:cNvPr id="6" name="Picture 5" descr="A screenshot of a website&#10;&#10;Description automatically generated">
            <a:extLst>
              <a:ext uri="{FF2B5EF4-FFF2-40B4-BE49-F238E27FC236}">
                <a16:creationId xmlns:a16="http://schemas.microsoft.com/office/drawing/2014/main" id="{F11C21F1-842B-33EF-F07B-12E8916E14D1}"/>
              </a:ext>
            </a:extLst>
          </p:cNvPr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343" y="642643"/>
            <a:ext cx="7540925" cy="3888352"/>
          </a:xfrm>
          <a:prstGeom prst="roundRect">
            <a:avLst/>
          </a:prstGeom>
        </p:spPr>
      </p:pic>
    </p:spTree>
    <p:extLst>
      <p:ext uri="{BB962C8B-B14F-4D97-AF65-F5344CB8AC3E}">
        <p14:creationId xmlns:p14="http://schemas.microsoft.com/office/powerpoint/2010/main" val="21043172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ata Catalogu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5">
                    <a:lumMod val="40000"/>
                    <a:lumOff val="60000"/>
                  </a:schemeClr>
                </a:solidFill>
              </a:rPr>
              <a:t>Centralized </a:t>
            </a:r>
            <a:r>
              <a:rPr lang="en-GB" sz="1400">
                <a:solidFill>
                  <a:schemeClr val="accent5">
                    <a:lumMod val="40000"/>
                    <a:lumOff val="60000"/>
                  </a:schemeClr>
                </a:solidFill>
                <a:hlinkClick r:id="rId2"/>
              </a:rPr>
              <a:t>catalogue</a:t>
            </a:r>
            <a:r>
              <a:rPr lang="en-GB" sz="1400">
                <a:solidFill>
                  <a:schemeClr val="accent5">
                    <a:lumMod val="40000"/>
                    <a:lumOff val="60000"/>
                  </a:schemeClr>
                </a:solidFill>
              </a:rPr>
              <a:t> for discovering all ESA Earth Observation Data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5">
                    <a:lumMod val="40000"/>
                    <a:lumOff val="60000"/>
                  </a:schemeClr>
                </a:solidFill>
              </a:rPr>
              <a:t>User friendly access to search and retrieva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GB" sz="1400">
                <a:solidFill>
                  <a:schemeClr val="accent5">
                    <a:lumMod val="40000"/>
                    <a:lumOff val="60000"/>
                  </a:schemeClr>
                </a:solidFill>
              </a:rPr>
              <a:t>Allowing user to download desired data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3328" y="2087104"/>
            <a:ext cx="6337385" cy="361231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80036" y="2758425"/>
            <a:ext cx="6237472" cy="3613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196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Box 29"/>
          <p:cNvSpPr txBox="1"/>
          <p:nvPr/>
        </p:nvSpPr>
        <p:spPr>
          <a:xfrm>
            <a:off x="358050" y="1027760"/>
            <a:ext cx="2498875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5333" b="1">
                <a:solidFill>
                  <a:srgbClr val="FFEBA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7,145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620953" y="2868609"/>
            <a:ext cx="11240821" cy="11119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8228608" y="1069355"/>
            <a:ext cx="3676800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5333" b="1">
                <a:solidFill>
                  <a:srgbClr val="FFEBA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~ 360,000 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96229" y="1918885"/>
            <a:ext cx="3135113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Web Pages &amp; Documents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3913736" y="3090308"/>
            <a:ext cx="0" cy="2781317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10166629-218E-F2ED-FEE9-185D10CAB1C1}"/>
              </a:ext>
            </a:extLst>
          </p:cNvPr>
          <p:cNvCxnSpPr/>
          <p:nvPr/>
        </p:nvCxnSpPr>
        <p:spPr>
          <a:xfrm flipH="1">
            <a:off x="3131554" y="1191342"/>
            <a:ext cx="8024" cy="1612669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A diagram of the earth&#10;&#10;Description automatically generated">
            <a:extLst>
              <a:ext uri="{FF2B5EF4-FFF2-40B4-BE49-F238E27FC236}">
                <a16:creationId xmlns:a16="http://schemas.microsoft.com/office/drawing/2014/main" id="{1BE93E2F-1369-A525-D8F7-20A15C7CD43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00" r="3395"/>
          <a:stretch/>
        </p:blipFill>
        <p:spPr>
          <a:xfrm>
            <a:off x="434804" y="3519889"/>
            <a:ext cx="3326671" cy="2317271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DE3A8E8-8317-FBCB-26B3-E43BB560AFBC}"/>
              </a:ext>
            </a:extLst>
          </p:cNvPr>
          <p:cNvCxnSpPr/>
          <p:nvPr/>
        </p:nvCxnSpPr>
        <p:spPr>
          <a:xfrm flipH="1">
            <a:off x="8174872" y="1089015"/>
            <a:ext cx="8024" cy="1612669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B6365D77-084E-D3E4-631D-05C6904A9BC0}"/>
              </a:ext>
            </a:extLst>
          </p:cNvPr>
          <p:cNvSpPr txBox="1"/>
          <p:nvPr/>
        </p:nvSpPr>
        <p:spPr>
          <a:xfrm>
            <a:off x="3428563" y="1069355"/>
            <a:ext cx="1432413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5333" b="1">
                <a:solidFill>
                  <a:srgbClr val="FFEBA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78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83D4EB-22AE-91CA-5874-217C2547D74E}"/>
              </a:ext>
            </a:extLst>
          </p:cNvPr>
          <p:cNvSpPr txBox="1"/>
          <p:nvPr/>
        </p:nvSpPr>
        <p:spPr>
          <a:xfrm>
            <a:off x="3231342" y="2060477"/>
            <a:ext cx="1964228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issions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4C7A93E-06D4-FA76-E776-F46E11F705AE}"/>
              </a:ext>
            </a:extLst>
          </p:cNvPr>
          <p:cNvCxnSpPr/>
          <p:nvPr/>
        </p:nvCxnSpPr>
        <p:spPr>
          <a:xfrm>
            <a:off x="8149948" y="3090308"/>
            <a:ext cx="0" cy="2781317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872AA133-5446-6E05-9D1D-4E6D6C4ED64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14824" y="3511396"/>
          <a:ext cx="3794589" cy="23172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4" imgW="15347354" imgH="9372600" progId="Acrobat.Document.DC">
                  <p:embed/>
                </p:oleObj>
              </mc:Choice>
              <mc:Fallback>
                <p:oleObj name="Acrobat Document" r:id="rId4" imgW="15347354" imgH="9372600" progId="Acrobat.Document.DC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872AA133-5446-6E05-9D1D-4E6D6C4ED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4114824" y="3511396"/>
                        <a:ext cx="3794589" cy="23172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0F61459C-82B0-D92A-0AD6-7C4E550E148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326872" y="3511397"/>
          <a:ext cx="3255189" cy="23002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6" imgW="5346478" imgH="3777615" progId="Acrobat.Document.DC">
                  <p:embed/>
                </p:oleObj>
              </mc:Choice>
              <mc:Fallback>
                <p:oleObj name="Acrobat Document" r:id="rId6" imgW="5346478" imgH="3777615" progId="Acrobat.Document.DC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0F61459C-82B0-D92A-0AD6-7C4E550E1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326872" y="3511397"/>
                        <a:ext cx="3255189" cy="23002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1E614060-CDB9-CA9F-5ED1-92ADFCE5191B}"/>
              </a:ext>
            </a:extLst>
          </p:cNvPr>
          <p:cNvSpPr txBox="1"/>
          <p:nvPr/>
        </p:nvSpPr>
        <p:spPr>
          <a:xfrm>
            <a:off x="8211306" y="2085365"/>
            <a:ext cx="3676800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corded visitors per year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4CF5EFD-D392-86AC-3961-E2C873B48502}"/>
              </a:ext>
            </a:extLst>
          </p:cNvPr>
          <p:cNvCxnSpPr/>
          <p:nvPr/>
        </p:nvCxnSpPr>
        <p:spPr>
          <a:xfrm flipH="1">
            <a:off x="5165692" y="1134624"/>
            <a:ext cx="8024" cy="1612669"/>
          </a:xfrm>
          <a:prstGeom prst="line">
            <a:avLst/>
          </a:prstGeom>
          <a:ln w="12700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1D87AAB0-5E4B-DAD3-D78C-AE7FB37843CF}"/>
              </a:ext>
            </a:extLst>
          </p:cNvPr>
          <p:cNvSpPr txBox="1"/>
          <p:nvPr/>
        </p:nvSpPr>
        <p:spPr>
          <a:xfrm>
            <a:off x="5162869" y="1069355"/>
            <a:ext cx="3012003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5333" b="1">
                <a:solidFill>
                  <a:srgbClr val="FFEBA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~ 59,00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39EE759-5228-2AF7-C91B-CFB0D4AFC399}"/>
              </a:ext>
            </a:extLst>
          </p:cNvPr>
          <p:cNvSpPr txBox="1"/>
          <p:nvPr/>
        </p:nvSpPr>
        <p:spPr>
          <a:xfrm>
            <a:off x="5531248" y="2060477"/>
            <a:ext cx="237816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por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3ECE49-8625-C6A1-AB25-9330FEC6A1B3}"/>
              </a:ext>
            </a:extLst>
          </p:cNvPr>
          <p:cNvSpPr txBox="1"/>
          <p:nvPr/>
        </p:nvSpPr>
        <p:spPr>
          <a:xfrm>
            <a:off x="207174" y="3047102"/>
            <a:ext cx="374839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Earth Explorer Mission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37751B-682E-D81B-4FC2-0AAE3C6C80A7}"/>
              </a:ext>
            </a:extLst>
          </p:cNvPr>
          <p:cNvSpPr txBox="1"/>
          <p:nvPr/>
        </p:nvSpPr>
        <p:spPr>
          <a:xfrm>
            <a:off x="4434083" y="3046652"/>
            <a:ext cx="313511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Third Party Mission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C4F32E1-6AF6-118E-A002-52CFE884D969}"/>
              </a:ext>
            </a:extLst>
          </p:cNvPr>
          <p:cNvSpPr txBox="1"/>
          <p:nvPr/>
        </p:nvSpPr>
        <p:spPr>
          <a:xfrm>
            <a:off x="8405874" y="3041941"/>
            <a:ext cx="3135113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E" sz="2133" b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en-IE" sz="2133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Heritage Missions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3089D9E-11D9-0B02-2724-288BCC5C2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174" y="199577"/>
            <a:ext cx="10108800" cy="523220"/>
          </a:xfrm>
        </p:spPr>
        <p:txBody>
          <a:bodyPr/>
          <a:lstStyle/>
          <a:p>
            <a:r>
              <a:rPr lang="en-US" sz="28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Helvetica Light"/>
              </a:rPr>
              <a:t>Missions portfolio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5411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" name="Gráfico 84">
            <a:extLst>
              <a:ext uri="{FF2B5EF4-FFF2-40B4-BE49-F238E27FC236}">
                <a16:creationId xmlns:a16="http://schemas.microsoft.com/office/drawing/2014/main" id="{C38D5264-51AB-BDA0-42C9-0960138124D6}"/>
              </a:ext>
            </a:extLst>
          </p:cNvPr>
          <p:cNvGrpSpPr>
            <a:grpSpLocks noChangeAspect="1"/>
          </p:cNvGrpSpPr>
          <p:nvPr/>
        </p:nvGrpSpPr>
        <p:grpSpPr>
          <a:xfrm>
            <a:off x="7469885" y="1734004"/>
            <a:ext cx="468000" cy="493929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79" name="Forma libre 240">
              <a:extLst>
                <a:ext uri="{FF2B5EF4-FFF2-40B4-BE49-F238E27FC236}">
                  <a16:creationId xmlns:a16="http://schemas.microsoft.com/office/drawing/2014/main" id="{5AFB9C66-AA52-E481-D3F3-DEFC347170A2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81" name="Forma libre 241">
              <a:extLst>
                <a:ext uri="{FF2B5EF4-FFF2-40B4-BE49-F238E27FC236}">
                  <a16:creationId xmlns:a16="http://schemas.microsoft.com/office/drawing/2014/main" id="{90FF0C92-D5FD-1B05-16BA-FE47B0CD85CE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82" name="Forma libre 242">
              <a:extLst>
                <a:ext uri="{FF2B5EF4-FFF2-40B4-BE49-F238E27FC236}">
                  <a16:creationId xmlns:a16="http://schemas.microsoft.com/office/drawing/2014/main" id="{55CB5A70-FCB3-FBF9-8875-24E28B0C3458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pic>
        <p:nvPicPr>
          <p:cNvPr id="159" name="Content Placeholder 18" descr="A picture containing circle, screenshot, design&#10;&#10;Description automatically generated">
            <a:extLst>
              <a:ext uri="{FF2B5EF4-FFF2-40B4-BE49-F238E27FC236}">
                <a16:creationId xmlns:a16="http://schemas.microsoft.com/office/drawing/2014/main" id="{72C28829-0A68-707B-BC6F-F5E0C206919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43126" y="1780252"/>
            <a:ext cx="564016" cy="564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5B1FCA3-460A-B118-E80E-1D5FF470B4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939" y="79200"/>
            <a:ext cx="11482670" cy="461665"/>
          </a:xfrm>
        </p:spPr>
        <p:txBody>
          <a:bodyPr/>
          <a:lstStyle/>
          <a:p>
            <a:pPr algn="ctr"/>
            <a:r>
              <a:rPr lang="en-US" sz="2400"/>
              <a:t>Current ESA EO Ground Segment Architecture</a:t>
            </a:r>
            <a:endParaRPr lang="en-GB" sz="2400"/>
          </a:p>
        </p:txBody>
      </p:sp>
      <p:pic>
        <p:nvPicPr>
          <p:cNvPr id="19" name="Content Placeholder 18" descr="A picture containing circle, screenshot, design&#10;&#10;Description automatically generated">
            <a:extLst>
              <a:ext uri="{FF2B5EF4-FFF2-40B4-BE49-F238E27FC236}">
                <a16:creationId xmlns:a16="http://schemas.microsoft.com/office/drawing/2014/main" id="{E057416E-AD23-223B-E6CC-502B294EC9D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7400" y="2145475"/>
            <a:ext cx="564016" cy="564016"/>
          </a:xfr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1961242-3879-B5C5-A112-ED08B9A7BBDF}"/>
              </a:ext>
            </a:extLst>
          </p:cNvPr>
          <p:cNvSpPr/>
          <p:nvPr/>
        </p:nvSpPr>
        <p:spPr>
          <a:xfrm>
            <a:off x="9024927" y="1317480"/>
            <a:ext cx="1404000" cy="373987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</a:rPr>
              <a:t>EO DATA ARCHIVE</a:t>
            </a:r>
          </a:p>
        </p:txBody>
      </p:sp>
      <p:pic>
        <p:nvPicPr>
          <p:cNvPr id="27" name="Picture 26" descr="A picture containing circle, clipart, graphics, cartoon&#10;&#10;Description automatically generated">
            <a:extLst>
              <a:ext uri="{FF2B5EF4-FFF2-40B4-BE49-F238E27FC236}">
                <a16:creationId xmlns:a16="http://schemas.microsoft.com/office/drawing/2014/main" id="{7951855D-D1D5-6632-1DF2-DFD478E0BAE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4579" y="2336248"/>
            <a:ext cx="404958" cy="404958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D3ECC636-0DC9-B5EA-CD07-33E65F033D9D}"/>
              </a:ext>
            </a:extLst>
          </p:cNvPr>
          <p:cNvSpPr txBox="1"/>
          <p:nvPr/>
        </p:nvSpPr>
        <p:spPr>
          <a:xfrm>
            <a:off x="9527413" y="2654122"/>
            <a:ext cx="121175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b="1">
                <a:solidFill>
                  <a:schemeClr val="bg1"/>
                </a:solidFill>
                <a:latin typeface="+mj-lt"/>
              </a:rPr>
              <a:t>REPROCESSING</a:t>
            </a:r>
            <a:endParaRPr lang="en-GB" sz="800">
              <a:latin typeface="+mj-lt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1152EDCD-1DFB-AFF2-34C7-28FF24CB3919}"/>
              </a:ext>
            </a:extLst>
          </p:cNvPr>
          <p:cNvSpPr/>
          <p:nvPr/>
        </p:nvSpPr>
        <p:spPr>
          <a:xfrm>
            <a:off x="6720881" y="1281029"/>
            <a:ext cx="1404752" cy="373987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</a:rPr>
              <a:t>EO DATA ONLINE PROVISION</a:t>
            </a:r>
          </a:p>
        </p:txBody>
      </p:sp>
      <p:pic>
        <p:nvPicPr>
          <p:cNvPr id="38" name="Picture 37" descr="A picture containing circle, graphics, logo, symbol&#10;&#10;Description automatically generated">
            <a:extLst>
              <a:ext uri="{FF2B5EF4-FFF2-40B4-BE49-F238E27FC236}">
                <a16:creationId xmlns:a16="http://schemas.microsoft.com/office/drawing/2014/main" id="{45EED294-0BAD-D9BB-56AC-BC697E17AAC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952" y="4637487"/>
            <a:ext cx="546636" cy="546636"/>
          </a:xfrm>
          <a:prstGeom prst="rect">
            <a:avLst/>
          </a:prstGeom>
        </p:spPr>
      </p:pic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B35646AB-48A6-B878-1AC3-012A38F7C018}"/>
              </a:ext>
            </a:extLst>
          </p:cNvPr>
          <p:cNvSpPr/>
          <p:nvPr/>
        </p:nvSpPr>
        <p:spPr>
          <a:xfrm>
            <a:off x="7111741" y="4530794"/>
            <a:ext cx="2827106" cy="1132403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25CA4C77-B346-482A-89A8-E2E633027AC2}"/>
              </a:ext>
            </a:extLst>
          </p:cNvPr>
          <p:cNvSpPr/>
          <p:nvPr/>
        </p:nvSpPr>
        <p:spPr>
          <a:xfrm>
            <a:off x="7111740" y="4148975"/>
            <a:ext cx="2827107" cy="373987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</a:rPr>
              <a:t>MISSIONS DATA SYSTEMATIC PROCESSING</a:t>
            </a:r>
          </a:p>
        </p:txBody>
      </p:sp>
      <p:grpSp>
        <p:nvGrpSpPr>
          <p:cNvPr id="73" name="Gráfico 84">
            <a:extLst>
              <a:ext uri="{FF2B5EF4-FFF2-40B4-BE49-F238E27FC236}">
                <a16:creationId xmlns:a16="http://schemas.microsoft.com/office/drawing/2014/main" id="{CA4C3865-1A3F-6998-2A5B-352C07278874}"/>
              </a:ext>
            </a:extLst>
          </p:cNvPr>
          <p:cNvGrpSpPr>
            <a:grpSpLocks noChangeAspect="1"/>
          </p:cNvGrpSpPr>
          <p:nvPr/>
        </p:nvGrpSpPr>
        <p:grpSpPr>
          <a:xfrm>
            <a:off x="7636790" y="5066424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4" name="Forma libre 240">
              <a:extLst>
                <a:ext uri="{FF2B5EF4-FFF2-40B4-BE49-F238E27FC236}">
                  <a16:creationId xmlns:a16="http://schemas.microsoft.com/office/drawing/2014/main" id="{7104B982-EA97-1191-E55F-861C54654B20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75" name="Forma libre 241">
              <a:extLst>
                <a:ext uri="{FF2B5EF4-FFF2-40B4-BE49-F238E27FC236}">
                  <a16:creationId xmlns:a16="http://schemas.microsoft.com/office/drawing/2014/main" id="{E2A9C53F-BDA3-C71E-76D3-DAB65BBDB9DA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76" name="Forma libre 242">
              <a:extLst>
                <a:ext uri="{FF2B5EF4-FFF2-40B4-BE49-F238E27FC236}">
                  <a16:creationId xmlns:a16="http://schemas.microsoft.com/office/drawing/2014/main" id="{852F4741-DF2F-C525-B1AB-243C5650B299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69" name="Gráfico 84">
            <a:extLst>
              <a:ext uri="{FF2B5EF4-FFF2-40B4-BE49-F238E27FC236}">
                <a16:creationId xmlns:a16="http://schemas.microsoft.com/office/drawing/2014/main" id="{D9E74CB6-FCF8-9B12-4543-E1CA7C97F6D9}"/>
              </a:ext>
            </a:extLst>
          </p:cNvPr>
          <p:cNvGrpSpPr>
            <a:grpSpLocks noChangeAspect="1"/>
          </p:cNvGrpSpPr>
          <p:nvPr/>
        </p:nvGrpSpPr>
        <p:grpSpPr>
          <a:xfrm>
            <a:off x="7543581" y="5139925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0" name="Forma libre 240">
              <a:extLst>
                <a:ext uri="{FF2B5EF4-FFF2-40B4-BE49-F238E27FC236}">
                  <a16:creationId xmlns:a16="http://schemas.microsoft.com/office/drawing/2014/main" id="{BBB0E9D2-240D-7998-6FFF-CA9F765FA89B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71" name="Forma libre 241">
              <a:extLst>
                <a:ext uri="{FF2B5EF4-FFF2-40B4-BE49-F238E27FC236}">
                  <a16:creationId xmlns:a16="http://schemas.microsoft.com/office/drawing/2014/main" id="{5D1BB029-41C6-ECAB-4CD0-54A345FFFA73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72" name="Forma libre 242">
              <a:extLst>
                <a:ext uri="{FF2B5EF4-FFF2-40B4-BE49-F238E27FC236}">
                  <a16:creationId xmlns:a16="http://schemas.microsoft.com/office/drawing/2014/main" id="{184C9523-1E51-F536-4D06-4EDA1BEF2F1B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65" name="Gráfico 84">
            <a:extLst>
              <a:ext uri="{FF2B5EF4-FFF2-40B4-BE49-F238E27FC236}">
                <a16:creationId xmlns:a16="http://schemas.microsoft.com/office/drawing/2014/main" id="{CEB898D6-6364-8B25-DFE8-D6F58A758955}"/>
              </a:ext>
            </a:extLst>
          </p:cNvPr>
          <p:cNvGrpSpPr>
            <a:grpSpLocks noChangeAspect="1"/>
          </p:cNvGrpSpPr>
          <p:nvPr/>
        </p:nvGrpSpPr>
        <p:grpSpPr>
          <a:xfrm>
            <a:off x="7463468" y="5207664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6" name="Forma libre 240">
              <a:extLst>
                <a:ext uri="{FF2B5EF4-FFF2-40B4-BE49-F238E27FC236}">
                  <a16:creationId xmlns:a16="http://schemas.microsoft.com/office/drawing/2014/main" id="{EFFF66A1-99D1-C679-C8AF-E4716FC16EDE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67" name="Forma libre 241">
              <a:extLst>
                <a:ext uri="{FF2B5EF4-FFF2-40B4-BE49-F238E27FC236}">
                  <a16:creationId xmlns:a16="http://schemas.microsoft.com/office/drawing/2014/main" id="{E7FE7DE9-77B5-AF11-D809-A27DBF159030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68" name="Forma libre 242">
              <a:extLst>
                <a:ext uri="{FF2B5EF4-FFF2-40B4-BE49-F238E27FC236}">
                  <a16:creationId xmlns:a16="http://schemas.microsoft.com/office/drawing/2014/main" id="{88E055E9-3C85-393F-81E2-5BD70ABDD0B1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pic>
        <p:nvPicPr>
          <p:cNvPr id="78" name="Picture 77" descr="A picture containing graphics, symbol, circle, graphic design&#10;&#10;Description automatically generated">
            <a:extLst>
              <a:ext uri="{FF2B5EF4-FFF2-40B4-BE49-F238E27FC236}">
                <a16:creationId xmlns:a16="http://schemas.microsoft.com/office/drawing/2014/main" id="{AFC9C86D-DF22-57EE-B6D2-370EE64BB8B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208" y="3226575"/>
            <a:ext cx="396169" cy="396169"/>
          </a:xfrm>
          <a:prstGeom prst="rect">
            <a:avLst/>
          </a:prstGeom>
        </p:spPr>
      </p:pic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70FC6AE0-BD05-95CA-9AA7-EF73A8D5BD4F}"/>
              </a:ext>
            </a:extLst>
          </p:cNvPr>
          <p:cNvCxnSpPr>
            <a:cxnSpLocks/>
            <a:stCxn id="78" idx="2"/>
            <a:endCxn id="40" idx="0"/>
          </p:cNvCxnSpPr>
          <p:nvPr/>
        </p:nvCxnSpPr>
        <p:spPr>
          <a:xfrm>
            <a:off x="8525293" y="3622744"/>
            <a:ext cx="1" cy="526231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EED2B15A-5CEC-E361-A7D5-B358C70E3284}"/>
              </a:ext>
            </a:extLst>
          </p:cNvPr>
          <p:cNvCxnSpPr>
            <a:cxnSpLocks/>
            <a:stCxn id="78" idx="3"/>
            <a:endCxn id="4" idx="2"/>
          </p:cNvCxnSpPr>
          <p:nvPr/>
        </p:nvCxnSpPr>
        <p:spPr>
          <a:xfrm flipV="1">
            <a:off x="8723377" y="2851807"/>
            <a:ext cx="1003550" cy="572853"/>
          </a:xfrm>
          <a:prstGeom prst="bentConnector2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B3A4D479-7045-92FE-88C2-2387417FC1C1}"/>
              </a:ext>
            </a:extLst>
          </p:cNvPr>
          <p:cNvCxnSpPr>
            <a:cxnSpLocks/>
            <a:stCxn id="78" idx="1"/>
            <a:endCxn id="184" idx="2"/>
          </p:cNvCxnSpPr>
          <p:nvPr/>
        </p:nvCxnSpPr>
        <p:spPr>
          <a:xfrm rot="10800000">
            <a:off x="7423262" y="2839984"/>
            <a:ext cx="903947" cy="584676"/>
          </a:xfrm>
          <a:prstGeom prst="bentConnector2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Picture 93" descr="A picture containing circle, graphics, logo, symbol&#10;&#10;Description automatically generated">
            <a:extLst>
              <a:ext uri="{FF2B5EF4-FFF2-40B4-BE49-F238E27FC236}">
                <a16:creationId xmlns:a16="http://schemas.microsoft.com/office/drawing/2014/main" id="{0CFCABEF-A8BA-C3E7-3AC2-4E0C6941BEE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466" y="4631996"/>
            <a:ext cx="546636" cy="546636"/>
          </a:xfrm>
          <a:prstGeom prst="rect">
            <a:avLst/>
          </a:prstGeom>
        </p:spPr>
      </p:pic>
      <p:grpSp>
        <p:nvGrpSpPr>
          <p:cNvPr id="95" name="Gráfico 84">
            <a:extLst>
              <a:ext uri="{FF2B5EF4-FFF2-40B4-BE49-F238E27FC236}">
                <a16:creationId xmlns:a16="http://schemas.microsoft.com/office/drawing/2014/main" id="{4AF3BA67-931B-4469-165A-4069AF430B32}"/>
              </a:ext>
            </a:extLst>
          </p:cNvPr>
          <p:cNvGrpSpPr>
            <a:grpSpLocks noChangeAspect="1"/>
          </p:cNvGrpSpPr>
          <p:nvPr/>
        </p:nvGrpSpPr>
        <p:grpSpPr>
          <a:xfrm>
            <a:off x="8348304" y="506093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96" name="Forma libre 240">
              <a:extLst>
                <a:ext uri="{FF2B5EF4-FFF2-40B4-BE49-F238E27FC236}">
                  <a16:creationId xmlns:a16="http://schemas.microsoft.com/office/drawing/2014/main" id="{19B0803E-0C90-3756-4275-DEEFC9D55426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7" name="Forma libre 241">
              <a:extLst>
                <a:ext uri="{FF2B5EF4-FFF2-40B4-BE49-F238E27FC236}">
                  <a16:creationId xmlns:a16="http://schemas.microsoft.com/office/drawing/2014/main" id="{A70001D2-8EF9-3A8E-2504-BC26CF6B3B08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98" name="Forma libre 242">
              <a:extLst>
                <a:ext uri="{FF2B5EF4-FFF2-40B4-BE49-F238E27FC236}">
                  <a16:creationId xmlns:a16="http://schemas.microsoft.com/office/drawing/2014/main" id="{E2B81EC1-F7DF-7A5B-AB7C-20D110BBF3FF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99" name="Gráfico 84">
            <a:extLst>
              <a:ext uri="{FF2B5EF4-FFF2-40B4-BE49-F238E27FC236}">
                <a16:creationId xmlns:a16="http://schemas.microsoft.com/office/drawing/2014/main" id="{A966F4EA-EBE8-D7A0-95BD-D195AE476C27}"/>
              </a:ext>
            </a:extLst>
          </p:cNvPr>
          <p:cNvGrpSpPr>
            <a:grpSpLocks noChangeAspect="1"/>
          </p:cNvGrpSpPr>
          <p:nvPr/>
        </p:nvGrpSpPr>
        <p:grpSpPr>
          <a:xfrm>
            <a:off x="8255095" y="5134434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0" name="Forma libre 240">
              <a:extLst>
                <a:ext uri="{FF2B5EF4-FFF2-40B4-BE49-F238E27FC236}">
                  <a16:creationId xmlns:a16="http://schemas.microsoft.com/office/drawing/2014/main" id="{E571A089-351E-9591-14A6-B532C165A092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01" name="Forma libre 241">
              <a:extLst>
                <a:ext uri="{FF2B5EF4-FFF2-40B4-BE49-F238E27FC236}">
                  <a16:creationId xmlns:a16="http://schemas.microsoft.com/office/drawing/2014/main" id="{D642EA12-6991-4E56-AB36-097953B652BB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02" name="Forma libre 242">
              <a:extLst>
                <a:ext uri="{FF2B5EF4-FFF2-40B4-BE49-F238E27FC236}">
                  <a16:creationId xmlns:a16="http://schemas.microsoft.com/office/drawing/2014/main" id="{5CB0BEDF-9189-7ECC-6E90-DEB4F5FBE8D5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03" name="Gráfico 84">
            <a:extLst>
              <a:ext uri="{FF2B5EF4-FFF2-40B4-BE49-F238E27FC236}">
                <a16:creationId xmlns:a16="http://schemas.microsoft.com/office/drawing/2014/main" id="{AA198E60-428F-0A84-C4F6-2FDA05BF1902}"/>
              </a:ext>
            </a:extLst>
          </p:cNvPr>
          <p:cNvGrpSpPr>
            <a:grpSpLocks noChangeAspect="1"/>
          </p:cNvGrpSpPr>
          <p:nvPr/>
        </p:nvGrpSpPr>
        <p:grpSpPr>
          <a:xfrm>
            <a:off x="8174982" y="520217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4" name="Forma libre 240">
              <a:extLst>
                <a:ext uri="{FF2B5EF4-FFF2-40B4-BE49-F238E27FC236}">
                  <a16:creationId xmlns:a16="http://schemas.microsoft.com/office/drawing/2014/main" id="{BA3BE469-7969-7842-185A-F3AC009598ED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05" name="Forma libre 241">
              <a:extLst>
                <a:ext uri="{FF2B5EF4-FFF2-40B4-BE49-F238E27FC236}">
                  <a16:creationId xmlns:a16="http://schemas.microsoft.com/office/drawing/2014/main" id="{AD5ADB18-0D06-8D26-73A5-AD5EDAB6B70B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06" name="Forma libre 242">
              <a:extLst>
                <a:ext uri="{FF2B5EF4-FFF2-40B4-BE49-F238E27FC236}">
                  <a16:creationId xmlns:a16="http://schemas.microsoft.com/office/drawing/2014/main" id="{7BE8DC6A-094C-E231-5B18-36B1217B8B00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pic>
        <p:nvPicPr>
          <p:cNvPr id="107" name="Picture 106" descr="A picture containing circle, graphics, logo, symbol&#10;&#10;Description automatically generated">
            <a:extLst>
              <a:ext uri="{FF2B5EF4-FFF2-40B4-BE49-F238E27FC236}">
                <a16:creationId xmlns:a16="http://schemas.microsoft.com/office/drawing/2014/main" id="{A2FF3D98-1761-8C7B-8BBD-341A5C304A5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6047" y="4631996"/>
            <a:ext cx="546636" cy="546636"/>
          </a:xfrm>
          <a:prstGeom prst="rect">
            <a:avLst/>
          </a:prstGeom>
        </p:spPr>
      </p:pic>
      <p:grpSp>
        <p:nvGrpSpPr>
          <p:cNvPr id="108" name="Gráfico 84">
            <a:extLst>
              <a:ext uri="{FF2B5EF4-FFF2-40B4-BE49-F238E27FC236}">
                <a16:creationId xmlns:a16="http://schemas.microsoft.com/office/drawing/2014/main" id="{D6377B06-5122-03D0-092E-849D1BE87CDB}"/>
              </a:ext>
            </a:extLst>
          </p:cNvPr>
          <p:cNvGrpSpPr>
            <a:grpSpLocks noChangeAspect="1"/>
          </p:cNvGrpSpPr>
          <p:nvPr/>
        </p:nvGrpSpPr>
        <p:grpSpPr>
          <a:xfrm>
            <a:off x="9065885" y="506093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09" name="Forma libre 240">
              <a:extLst>
                <a:ext uri="{FF2B5EF4-FFF2-40B4-BE49-F238E27FC236}">
                  <a16:creationId xmlns:a16="http://schemas.microsoft.com/office/drawing/2014/main" id="{50EC0113-4F96-643B-E9EE-A294B06F2F78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0" name="Forma libre 241">
              <a:extLst>
                <a:ext uri="{FF2B5EF4-FFF2-40B4-BE49-F238E27FC236}">
                  <a16:creationId xmlns:a16="http://schemas.microsoft.com/office/drawing/2014/main" id="{31CDE302-05C7-2774-A462-C742AA6BAF8A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1" name="Forma libre 242">
              <a:extLst>
                <a:ext uri="{FF2B5EF4-FFF2-40B4-BE49-F238E27FC236}">
                  <a16:creationId xmlns:a16="http://schemas.microsoft.com/office/drawing/2014/main" id="{5E3AEDBD-32D7-D9C6-9995-1ECF76A8FB9B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12" name="Gráfico 84">
            <a:extLst>
              <a:ext uri="{FF2B5EF4-FFF2-40B4-BE49-F238E27FC236}">
                <a16:creationId xmlns:a16="http://schemas.microsoft.com/office/drawing/2014/main" id="{F0E98D88-AD40-8151-13ED-466FF7FAB249}"/>
              </a:ext>
            </a:extLst>
          </p:cNvPr>
          <p:cNvGrpSpPr>
            <a:grpSpLocks noChangeAspect="1"/>
          </p:cNvGrpSpPr>
          <p:nvPr/>
        </p:nvGrpSpPr>
        <p:grpSpPr>
          <a:xfrm>
            <a:off x="8972676" y="5134434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13" name="Forma libre 240">
              <a:extLst>
                <a:ext uri="{FF2B5EF4-FFF2-40B4-BE49-F238E27FC236}">
                  <a16:creationId xmlns:a16="http://schemas.microsoft.com/office/drawing/2014/main" id="{7D102284-1571-BF7F-5011-D7DA1A712005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4" name="Forma libre 241">
              <a:extLst>
                <a:ext uri="{FF2B5EF4-FFF2-40B4-BE49-F238E27FC236}">
                  <a16:creationId xmlns:a16="http://schemas.microsoft.com/office/drawing/2014/main" id="{E3CA83BF-FB18-981F-B6D8-9B3D2C130180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5" name="Forma libre 242">
              <a:extLst>
                <a:ext uri="{FF2B5EF4-FFF2-40B4-BE49-F238E27FC236}">
                  <a16:creationId xmlns:a16="http://schemas.microsoft.com/office/drawing/2014/main" id="{0E9A5952-78F7-D1BA-C3A5-A7B8CFA5C549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16" name="Gráfico 84">
            <a:extLst>
              <a:ext uri="{FF2B5EF4-FFF2-40B4-BE49-F238E27FC236}">
                <a16:creationId xmlns:a16="http://schemas.microsoft.com/office/drawing/2014/main" id="{28D14DF1-880F-F234-C2BA-819A3A712E65}"/>
              </a:ext>
            </a:extLst>
          </p:cNvPr>
          <p:cNvGrpSpPr>
            <a:grpSpLocks noChangeAspect="1"/>
          </p:cNvGrpSpPr>
          <p:nvPr/>
        </p:nvGrpSpPr>
        <p:grpSpPr>
          <a:xfrm>
            <a:off x="8892563" y="520217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17" name="Forma libre 240">
              <a:extLst>
                <a:ext uri="{FF2B5EF4-FFF2-40B4-BE49-F238E27FC236}">
                  <a16:creationId xmlns:a16="http://schemas.microsoft.com/office/drawing/2014/main" id="{EB8CE9FD-2237-37A7-7AFE-ABB7FC8A0FC8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8" name="Forma libre 241">
              <a:extLst>
                <a:ext uri="{FF2B5EF4-FFF2-40B4-BE49-F238E27FC236}">
                  <a16:creationId xmlns:a16="http://schemas.microsoft.com/office/drawing/2014/main" id="{E6506154-3F16-D91F-C636-85DAF8520892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19" name="Forma libre 242">
              <a:extLst>
                <a:ext uri="{FF2B5EF4-FFF2-40B4-BE49-F238E27FC236}">
                  <a16:creationId xmlns:a16="http://schemas.microsoft.com/office/drawing/2014/main" id="{44B7FA4B-945B-BBAE-6DD1-A72E29E1A6E8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pic>
        <p:nvPicPr>
          <p:cNvPr id="120" name="Picture 119" descr="A picture containing circle, graphics, logo, symbol&#10;&#10;Description automatically generated">
            <a:extLst>
              <a:ext uri="{FF2B5EF4-FFF2-40B4-BE49-F238E27FC236}">
                <a16:creationId xmlns:a16="http://schemas.microsoft.com/office/drawing/2014/main" id="{DC9454FD-E67F-7A48-1E60-E1F202BB588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8990" y="4631996"/>
            <a:ext cx="546636" cy="546636"/>
          </a:xfrm>
          <a:prstGeom prst="rect">
            <a:avLst/>
          </a:prstGeom>
        </p:spPr>
      </p:pic>
      <p:grpSp>
        <p:nvGrpSpPr>
          <p:cNvPr id="121" name="Gráfico 84">
            <a:extLst>
              <a:ext uri="{FF2B5EF4-FFF2-40B4-BE49-F238E27FC236}">
                <a16:creationId xmlns:a16="http://schemas.microsoft.com/office/drawing/2014/main" id="{5921C124-434A-7AC7-3FF1-612F6876D32D}"/>
              </a:ext>
            </a:extLst>
          </p:cNvPr>
          <p:cNvGrpSpPr>
            <a:grpSpLocks noChangeAspect="1"/>
          </p:cNvGrpSpPr>
          <p:nvPr/>
        </p:nvGrpSpPr>
        <p:grpSpPr>
          <a:xfrm>
            <a:off x="9718828" y="506093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22" name="Forma libre 240">
              <a:extLst>
                <a:ext uri="{FF2B5EF4-FFF2-40B4-BE49-F238E27FC236}">
                  <a16:creationId xmlns:a16="http://schemas.microsoft.com/office/drawing/2014/main" id="{9F386437-34A0-1A91-6CA0-5C7667BD9141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23" name="Forma libre 241">
              <a:extLst>
                <a:ext uri="{FF2B5EF4-FFF2-40B4-BE49-F238E27FC236}">
                  <a16:creationId xmlns:a16="http://schemas.microsoft.com/office/drawing/2014/main" id="{608E653E-FC1C-E525-A14D-CC8B4F6C684D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24" name="Forma libre 242">
              <a:extLst>
                <a:ext uri="{FF2B5EF4-FFF2-40B4-BE49-F238E27FC236}">
                  <a16:creationId xmlns:a16="http://schemas.microsoft.com/office/drawing/2014/main" id="{5A505B64-0D47-6764-6FE2-86B3463378CD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25" name="Gráfico 84">
            <a:extLst>
              <a:ext uri="{FF2B5EF4-FFF2-40B4-BE49-F238E27FC236}">
                <a16:creationId xmlns:a16="http://schemas.microsoft.com/office/drawing/2014/main" id="{F60F457B-8201-8ED6-E0ED-6F2E5B97BA02}"/>
              </a:ext>
            </a:extLst>
          </p:cNvPr>
          <p:cNvGrpSpPr>
            <a:grpSpLocks noChangeAspect="1"/>
          </p:cNvGrpSpPr>
          <p:nvPr/>
        </p:nvGrpSpPr>
        <p:grpSpPr>
          <a:xfrm>
            <a:off x="9625619" y="5134434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26" name="Forma libre 240">
              <a:extLst>
                <a:ext uri="{FF2B5EF4-FFF2-40B4-BE49-F238E27FC236}">
                  <a16:creationId xmlns:a16="http://schemas.microsoft.com/office/drawing/2014/main" id="{C7E7BC10-F300-179B-4785-D9C2C0B10F54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27" name="Forma libre 241">
              <a:extLst>
                <a:ext uri="{FF2B5EF4-FFF2-40B4-BE49-F238E27FC236}">
                  <a16:creationId xmlns:a16="http://schemas.microsoft.com/office/drawing/2014/main" id="{D6B5EF55-D19A-869C-D23B-C07F8392161B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28" name="Forma libre 242">
              <a:extLst>
                <a:ext uri="{FF2B5EF4-FFF2-40B4-BE49-F238E27FC236}">
                  <a16:creationId xmlns:a16="http://schemas.microsoft.com/office/drawing/2014/main" id="{A92DCB27-BF53-79CD-34C6-46365F029F13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129" name="Gráfico 84">
            <a:extLst>
              <a:ext uri="{FF2B5EF4-FFF2-40B4-BE49-F238E27FC236}">
                <a16:creationId xmlns:a16="http://schemas.microsoft.com/office/drawing/2014/main" id="{97D426BB-3C0D-588F-CF8C-09FF66631E9B}"/>
              </a:ext>
            </a:extLst>
          </p:cNvPr>
          <p:cNvGrpSpPr>
            <a:grpSpLocks noChangeAspect="1"/>
          </p:cNvGrpSpPr>
          <p:nvPr/>
        </p:nvGrpSpPr>
        <p:grpSpPr>
          <a:xfrm>
            <a:off x="9545506" y="5202173"/>
            <a:ext cx="212613" cy="224392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30" name="Forma libre 240">
              <a:extLst>
                <a:ext uri="{FF2B5EF4-FFF2-40B4-BE49-F238E27FC236}">
                  <a16:creationId xmlns:a16="http://schemas.microsoft.com/office/drawing/2014/main" id="{7DB1EE7B-3A9A-9369-49D1-E7848BB667B2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31" name="Forma libre 241">
              <a:extLst>
                <a:ext uri="{FF2B5EF4-FFF2-40B4-BE49-F238E27FC236}">
                  <a16:creationId xmlns:a16="http://schemas.microsoft.com/office/drawing/2014/main" id="{BCD72F6F-7862-085B-25B1-9664F89B8082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32" name="Forma libre 242">
              <a:extLst>
                <a:ext uri="{FF2B5EF4-FFF2-40B4-BE49-F238E27FC236}">
                  <a16:creationId xmlns:a16="http://schemas.microsoft.com/office/drawing/2014/main" id="{1D161EAD-1D4D-A5C6-E414-3BEBDA8A92D3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sp>
        <p:nvSpPr>
          <p:cNvPr id="133" name="Rectangle: Rounded Corners 132">
            <a:extLst>
              <a:ext uri="{FF2B5EF4-FFF2-40B4-BE49-F238E27FC236}">
                <a16:creationId xmlns:a16="http://schemas.microsoft.com/office/drawing/2014/main" id="{AECFEDB9-F27B-4AD1-EC69-446A25FFFF48}"/>
              </a:ext>
            </a:extLst>
          </p:cNvPr>
          <p:cNvSpPr/>
          <p:nvPr/>
        </p:nvSpPr>
        <p:spPr>
          <a:xfrm>
            <a:off x="843868" y="1321397"/>
            <a:ext cx="1618076" cy="373987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EO WEB SERVICES</a:t>
            </a:r>
          </a:p>
        </p:txBody>
      </p:sp>
      <p:pic>
        <p:nvPicPr>
          <p:cNvPr id="135" name="Picture 134" descr="A picture containing screenshot, graphics, colorfulness, clipart&#10;&#10;Description automatically generated">
            <a:extLst>
              <a:ext uri="{FF2B5EF4-FFF2-40B4-BE49-F238E27FC236}">
                <a16:creationId xmlns:a16="http://schemas.microsoft.com/office/drawing/2014/main" id="{C5E2095D-B026-0AAC-8738-E7D58FE7367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3603" y="1875863"/>
            <a:ext cx="321261" cy="321261"/>
          </a:xfrm>
          <a:prstGeom prst="rect">
            <a:avLst/>
          </a:prstGeom>
        </p:spPr>
      </p:pic>
      <p:sp>
        <p:nvSpPr>
          <p:cNvPr id="136" name="Rectangle: Rounded Corners 135">
            <a:extLst>
              <a:ext uri="{FF2B5EF4-FFF2-40B4-BE49-F238E27FC236}">
                <a16:creationId xmlns:a16="http://schemas.microsoft.com/office/drawing/2014/main" id="{7BD63001-774A-754E-0716-34768456E635}"/>
              </a:ext>
            </a:extLst>
          </p:cNvPr>
          <p:cNvSpPr/>
          <p:nvPr/>
        </p:nvSpPr>
        <p:spPr>
          <a:xfrm>
            <a:off x="843868" y="1695383"/>
            <a:ext cx="1618076" cy="684047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8DB97118-E00C-E960-7B37-22785355EF22}"/>
              </a:ext>
            </a:extLst>
          </p:cNvPr>
          <p:cNvCxnSpPr>
            <a:cxnSpLocks/>
          </p:cNvCxnSpPr>
          <p:nvPr/>
        </p:nvCxnSpPr>
        <p:spPr>
          <a:xfrm flipH="1">
            <a:off x="9998195" y="5152798"/>
            <a:ext cx="507687" cy="0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extBox 139">
            <a:extLst>
              <a:ext uri="{FF2B5EF4-FFF2-40B4-BE49-F238E27FC236}">
                <a16:creationId xmlns:a16="http://schemas.microsoft.com/office/drawing/2014/main" id="{116DEF52-C5E6-39A4-A5EA-D58EB7C86354}"/>
              </a:ext>
            </a:extLst>
          </p:cNvPr>
          <p:cNvSpPr txBox="1"/>
          <p:nvPr/>
        </p:nvSpPr>
        <p:spPr>
          <a:xfrm>
            <a:off x="9878835" y="4891004"/>
            <a:ext cx="121175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b="1">
                <a:solidFill>
                  <a:schemeClr val="bg1"/>
                </a:solidFill>
                <a:latin typeface="+mj-lt"/>
              </a:rPr>
              <a:t>AUXILIARY DATA</a:t>
            </a:r>
            <a:endParaRPr lang="en-GB" sz="800">
              <a:latin typeface="+mj-lt"/>
            </a:endParaRPr>
          </a:p>
        </p:txBody>
      </p:sp>
      <p:sp>
        <p:nvSpPr>
          <p:cNvPr id="183" name="Rectangle: Rounded Corners 182">
            <a:extLst>
              <a:ext uri="{FF2B5EF4-FFF2-40B4-BE49-F238E27FC236}">
                <a16:creationId xmlns:a16="http://schemas.microsoft.com/office/drawing/2014/main" id="{0060B693-C838-9C0D-D0CA-BC9FE75AF75D}"/>
              </a:ext>
            </a:extLst>
          </p:cNvPr>
          <p:cNvSpPr/>
          <p:nvPr/>
        </p:nvSpPr>
        <p:spPr>
          <a:xfrm>
            <a:off x="10912086" y="2754257"/>
            <a:ext cx="1251913" cy="373987"/>
          </a:xfrm>
          <a:prstGeom prst="roundRect">
            <a:avLst>
              <a:gd name="adj" fmla="val 0"/>
            </a:avLst>
          </a:prstGeom>
          <a:noFill/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b="1">
                <a:solidFill>
                  <a:schemeClr val="bg1"/>
                </a:solidFill>
              </a:rPr>
              <a:t>SERVICES MANAGEMENT</a:t>
            </a:r>
          </a:p>
        </p:txBody>
      </p:sp>
      <p:sp>
        <p:nvSpPr>
          <p:cNvPr id="185" name="Rectangle: Rounded Corners 184">
            <a:extLst>
              <a:ext uri="{FF2B5EF4-FFF2-40B4-BE49-F238E27FC236}">
                <a16:creationId xmlns:a16="http://schemas.microsoft.com/office/drawing/2014/main" id="{00CE5ABD-39D8-EC7D-122D-F83ACE16F9D3}"/>
              </a:ext>
            </a:extLst>
          </p:cNvPr>
          <p:cNvSpPr/>
          <p:nvPr/>
        </p:nvSpPr>
        <p:spPr>
          <a:xfrm>
            <a:off x="10912086" y="3128244"/>
            <a:ext cx="1251913" cy="843149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187" name="Picture 8">
            <a:extLst>
              <a:ext uri="{FF2B5EF4-FFF2-40B4-BE49-F238E27FC236}">
                <a16:creationId xmlns:a16="http://schemas.microsoft.com/office/drawing/2014/main" id="{237C4EEF-3FD9-319F-A0B5-E26FF6318B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5" t="1" r="30632" b="3"/>
          <a:stretch/>
        </p:blipFill>
        <p:spPr bwMode="auto">
          <a:xfrm>
            <a:off x="1161527" y="1785797"/>
            <a:ext cx="824949" cy="439119"/>
          </a:xfrm>
          <a:prstGeom prst="roundRect">
            <a:avLst/>
          </a:prstGeom>
          <a:solidFill>
            <a:srgbClr val="FFFFFF">
              <a:shade val="85000"/>
            </a:srgbClr>
          </a:solidFill>
          <a:ln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89" name="Picture 188" descr="A picture containing graphics, circle, symbol, logo&#10;&#10;Description automatically generated">
            <a:extLst>
              <a:ext uri="{FF2B5EF4-FFF2-40B4-BE49-F238E27FC236}">
                <a16:creationId xmlns:a16="http://schemas.microsoft.com/office/drawing/2014/main" id="{19DE722B-3222-606B-A8FD-12F4F66D83A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5426" y="3172337"/>
            <a:ext cx="395002" cy="395002"/>
          </a:xfrm>
          <a:prstGeom prst="rect">
            <a:avLst/>
          </a:prstGeom>
        </p:spPr>
      </p:pic>
      <p:pic>
        <p:nvPicPr>
          <p:cNvPr id="190" name="Picture 189" descr="A picture containing screenshot, graphics, colorfulness, clipart&#10;&#10;Description automatically generated">
            <a:extLst>
              <a:ext uri="{FF2B5EF4-FFF2-40B4-BE49-F238E27FC236}">
                <a16:creationId xmlns:a16="http://schemas.microsoft.com/office/drawing/2014/main" id="{2AADD0AA-1A1F-21F3-1AA8-EE02BD21413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7411" y="3600732"/>
            <a:ext cx="321261" cy="32126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99F5F8-0590-B39B-ADB7-206EBA61F92F}"/>
              </a:ext>
            </a:extLst>
          </p:cNvPr>
          <p:cNvCxnSpPr>
            <a:cxnSpLocks/>
            <a:endCxn id="183" idx="0"/>
          </p:cNvCxnSpPr>
          <p:nvPr/>
        </p:nvCxnSpPr>
        <p:spPr>
          <a:xfrm>
            <a:off x="11538041" y="862569"/>
            <a:ext cx="2" cy="1891688"/>
          </a:xfrm>
          <a:prstGeom prst="line">
            <a:avLst/>
          </a:prstGeom>
          <a:ln w="19050">
            <a:solidFill>
              <a:srgbClr val="9999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13DC9561-EC73-EB07-9655-6A598AF97FD4}"/>
              </a:ext>
            </a:extLst>
          </p:cNvPr>
          <p:cNvCxnSpPr>
            <a:cxnSpLocks/>
            <a:stCxn id="185" idx="2"/>
          </p:cNvCxnSpPr>
          <p:nvPr/>
        </p:nvCxnSpPr>
        <p:spPr>
          <a:xfrm>
            <a:off x="11538043" y="3971393"/>
            <a:ext cx="12158" cy="2154854"/>
          </a:xfrm>
          <a:prstGeom prst="line">
            <a:avLst/>
          </a:prstGeom>
          <a:ln w="19050">
            <a:solidFill>
              <a:srgbClr val="9999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8" name="Picture 177" descr="A blue arrow pointing down&#10;&#10;Description automatically generated with low confidence">
            <a:extLst>
              <a:ext uri="{FF2B5EF4-FFF2-40B4-BE49-F238E27FC236}">
                <a16:creationId xmlns:a16="http://schemas.microsoft.com/office/drawing/2014/main" id="{CEE002B7-41EF-EE56-C6F0-DA0E90D812AB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9471" y="1803481"/>
            <a:ext cx="383112" cy="383112"/>
          </a:xfrm>
          <a:prstGeom prst="rect">
            <a:avLst/>
          </a:prstGeom>
          <a:noFill/>
        </p:spPr>
      </p:pic>
      <p:pic>
        <p:nvPicPr>
          <p:cNvPr id="158" name="Content Placeholder 18" descr="A picture containing circle, screenshot, design&#10;&#10;Description automatically generated">
            <a:extLst>
              <a:ext uri="{FF2B5EF4-FFF2-40B4-BE49-F238E27FC236}">
                <a16:creationId xmlns:a16="http://schemas.microsoft.com/office/drawing/2014/main" id="{85824580-CA18-5FBD-6819-159E8C6845C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36947" y="1949457"/>
            <a:ext cx="564016" cy="564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pic>
      <p:grpSp>
        <p:nvGrpSpPr>
          <p:cNvPr id="164" name="Gráfico 84">
            <a:extLst>
              <a:ext uri="{FF2B5EF4-FFF2-40B4-BE49-F238E27FC236}">
                <a16:creationId xmlns:a16="http://schemas.microsoft.com/office/drawing/2014/main" id="{02BCED1F-EABA-AA9C-B433-D455630C881C}"/>
              </a:ext>
            </a:extLst>
          </p:cNvPr>
          <p:cNvGrpSpPr>
            <a:grpSpLocks noChangeAspect="1"/>
          </p:cNvGrpSpPr>
          <p:nvPr/>
        </p:nvGrpSpPr>
        <p:grpSpPr>
          <a:xfrm>
            <a:off x="7158176" y="1974738"/>
            <a:ext cx="468000" cy="493929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166" name="Forma libre 240">
              <a:extLst>
                <a:ext uri="{FF2B5EF4-FFF2-40B4-BE49-F238E27FC236}">
                  <a16:creationId xmlns:a16="http://schemas.microsoft.com/office/drawing/2014/main" id="{46695A51-3DC5-6131-919F-7748830E9302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67" name="Forma libre 241">
              <a:extLst>
                <a:ext uri="{FF2B5EF4-FFF2-40B4-BE49-F238E27FC236}">
                  <a16:creationId xmlns:a16="http://schemas.microsoft.com/office/drawing/2014/main" id="{E1EA5499-557C-5DAB-E430-B742ABDDC4D5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175" name="Forma libre 242">
              <a:extLst>
                <a:ext uri="{FF2B5EF4-FFF2-40B4-BE49-F238E27FC236}">
                  <a16:creationId xmlns:a16="http://schemas.microsoft.com/office/drawing/2014/main" id="{73036840-D3BE-AFDC-277F-4AB31073142C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grpSp>
        <p:nvGrpSpPr>
          <p:cNvPr id="41" name="Gráfico 84">
            <a:extLst>
              <a:ext uri="{FF2B5EF4-FFF2-40B4-BE49-F238E27FC236}">
                <a16:creationId xmlns:a16="http://schemas.microsoft.com/office/drawing/2014/main" id="{B986CEFC-3281-44FE-702B-9C9C90BD6CDC}"/>
              </a:ext>
            </a:extLst>
          </p:cNvPr>
          <p:cNvGrpSpPr>
            <a:grpSpLocks noChangeAspect="1"/>
          </p:cNvGrpSpPr>
          <p:nvPr/>
        </p:nvGrpSpPr>
        <p:grpSpPr>
          <a:xfrm>
            <a:off x="6931868" y="2185511"/>
            <a:ext cx="468000" cy="493929"/>
            <a:chOff x="3999529" y="4280819"/>
            <a:chExt cx="571239" cy="571234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42" name="Forma libre 240">
              <a:extLst>
                <a:ext uri="{FF2B5EF4-FFF2-40B4-BE49-F238E27FC236}">
                  <a16:creationId xmlns:a16="http://schemas.microsoft.com/office/drawing/2014/main" id="{BFE0AB3D-236F-4C41-984C-DCFC94D6AD1B}"/>
                </a:ext>
              </a:extLst>
            </p:cNvPr>
            <p:cNvSpPr/>
            <p:nvPr/>
          </p:nvSpPr>
          <p:spPr>
            <a:xfrm>
              <a:off x="3999531" y="4280819"/>
              <a:ext cx="571237" cy="259653"/>
            </a:xfrm>
            <a:custGeom>
              <a:avLst/>
              <a:gdLst>
                <a:gd name="connsiteX0" fmla="*/ 285619 w 571237"/>
                <a:gd name="connsiteY0" fmla="*/ 0 h 259653"/>
                <a:gd name="connsiteX1" fmla="*/ 0 w 571237"/>
                <a:gd name="connsiteY1" fmla="*/ 77896 h 259653"/>
                <a:gd name="connsiteX2" fmla="*/ 0 w 571237"/>
                <a:gd name="connsiteY2" fmla="*/ 168775 h 259653"/>
                <a:gd name="connsiteX3" fmla="*/ 285619 w 571237"/>
                <a:gd name="connsiteY3" fmla="*/ 259654 h 259653"/>
                <a:gd name="connsiteX4" fmla="*/ 571238 w 571237"/>
                <a:gd name="connsiteY4" fmla="*/ 168775 h 259653"/>
                <a:gd name="connsiteX5" fmla="*/ 571238 w 571237"/>
                <a:gd name="connsiteY5" fmla="*/ 77896 h 259653"/>
                <a:gd name="connsiteX6" fmla="*/ 285619 w 571237"/>
                <a:gd name="connsiteY6" fmla="*/ 0 h 259653"/>
                <a:gd name="connsiteX7" fmla="*/ 285619 w 571237"/>
                <a:gd name="connsiteY7" fmla="*/ 129827 h 259653"/>
                <a:gd name="connsiteX8" fmla="*/ 51931 w 571237"/>
                <a:gd name="connsiteY8" fmla="*/ 77896 h 259653"/>
                <a:gd name="connsiteX9" fmla="*/ 285619 w 571237"/>
                <a:gd name="connsiteY9" fmla="*/ 25965 h 259653"/>
                <a:gd name="connsiteX10" fmla="*/ 519307 w 571237"/>
                <a:gd name="connsiteY10" fmla="*/ 77896 h 259653"/>
                <a:gd name="connsiteX11" fmla="*/ 285619 w 571237"/>
                <a:gd name="connsiteY11" fmla="*/ 129827 h 259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71237" h="259653">
                  <a:moveTo>
                    <a:pt x="285619" y="0"/>
                  </a:moveTo>
                  <a:cubicBezTo>
                    <a:pt x="148058" y="0"/>
                    <a:pt x="0" y="24380"/>
                    <a:pt x="0" y="77896"/>
                  </a:cubicBezTo>
                  <a:lnTo>
                    <a:pt x="0" y="168775"/>
                  </a:lnTo>
                  <a:cubicBezTo>
                    <a:pt x="0" y="235450"/>
                    <a:pt x="170803" y="259654"/>
                    <a:pt x="285619" y="259654"/>
                  </a:cubicBezTo>
                  <a:cubicBezTo>
                    <a:pt x="400435" y="259654"/>
                    <a:pt x="571238" y="235451"/>
                    <a:pt x="571238" y="168775"/>
                  </a:cubicBezTo>
                  <a:lnTo>
                    <a:pt x="571238" y="77896"/>
                  </a:lnTo>
                  <a:cubicBezTo>
                    <a:pt x="571236" y="24380"/>
                    <a:pt x="423179" y="0"/>
                    <a:pt x="285619" y="0"/>
                  </a:cubicBezTo>
                  <a:close/>
                  <a:moveTo>
                    <a:pt x="285619" y="129827"/>
                  </a:moveTo>
                  <a:cubicBezTo>
                    <a:pt x="134417" y="129827"/>
                    <a:pt x="51931" y="95519"/>
                    <a:pt x="51931" y="77896"/>
                  </a:cubicBezTo>
                  <a:cubicBezTo>
                    <a:pt x="51931" y="60273"/>
                    <a:pt x="134417" y="25965"/>
                    <a:pt x="285619" y="25965"/>
                  </a:cubicBezTo>
                  <a:cubicBezTo>
                    <a:pt x="436821" y="25965"/>
                    <a:pt x="519307" y="60272"/>
                    <a:pt x="519307" y="77896"/>
                  </a:cubicBezTo>
                  <a:cubicBezTo>
                    <a:pt x="519307" y="95519"/>
                    <a:pt x="436821" y="129827"/>
                    <a:pt x="285619" y="129827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43" name="Forma libre 241">
              <a:extLst>
                <a:ext uri="{FF2B5EF4-FFF2-40B4-BE49-F238E27FC236}">
                  <a16:creationId xmlns:a16="http://schemas.microsoft.com/office/drawing/2014/main" id="{455183CF-4315-3674-1BA9-EA2B723F5B24}"/>
                </a:ext>
              </a:extLst>
            </p:cNvPr>
            <p:cNvSpPr/>
            <p:nvPr/>
          </p:nvSpPr>
          <p:spPr>
            <a:xfrm>
              <a:off x="3999529" y="4670471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0368"/>
                    <a:pt x="143684" y="181582"/>
                    <a:pt x="285619" y="181582"/>
                  </a:cubicBezTo>
                  <a:cubicBezTo>
                    <a:pt x="427554" y="181582"/>
                    <a:pt x="571238" y="150368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  <p:sp>
          <p:nvSpPr>
            <p:cNvPr id="44" name="Forma libre 242">
              <a:extLst>
                <a:ext uri="{FF2B5EF4-FFF2-40B4-BE49-F238E27FC236}">
                  <a16:creationId xmlns:a16="http://schemas.microsoft.com/office/drawing/2014/main" id="{4037039A-7587-F353-0FBF-FC80C05CA055}"/>
                </a:ext>
              </a:extLst>
            </p:cNvPr>
            <p:cNvSpPr/>
            <p:nvPr/>
          </p:nvSpPr>
          <p:spPr>
            <a:xfrm>
              <a:off x="3999529" y="4514679"/>
              <a:ext cx="571237" cy="181582"/>
            </a:xfrm>
            <a:custGeom>
              <a:avLst/>
              <a:gdLst>
                <a:gd name="connsiteX0" fmla="*/ 551615 w 571237"/>
                <a:gd name="connsiteY0" fmla="*/ 1908 h 181582"/>
                <a:gd name="connsiteX1" fmla="*/ 285619 w 571237"/>
                <a:gd name="connsiteY1" fmla="*/ 51756 h 181582"/>
                <a:gd name="connsiteX2" fmla="*/ 19622 w 571237"/>
                <a:gd name="connsiteY2" fmla="*/ 1908 h 181582"/>
                <a:gd name="connsiteX3" fmla="*/ 0 w 571237"/>
                <a:gd name="connsiteY3" fmla="*/ 12870 h 181582"/>
                <a:gd name="connsiteX4" fmla="*/ 0 w 571237"/>
                <a:gd name="connsiteY4" fmla="*/ 90703 h 181582"/>
                <a:gd name="connsiteX5" fmla="*/ 285619 w 571237"/>
                <a:gd name="connsiteY5" fmla="*/ 181582 h 181582"/>
                <a:gd name="connsiteX6" fmla="*/ 571238 w 571237"/>
                <a:gd name="connsiteY6" fmla="*/ 90703 h 181582"/>
                <a:gd name="connsiteX7" fmla="*/ 571238 w 571237"/>
                <a:gd name="connsiteY7" fmla="*/ 12870 h 181582"/>
                <a:gd name="connsiteX8" fmla="*/ 551615 w 571237"/>
                <a:gd name="connsiteY8" fmla="*/ 1908 h 181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1237" h="181582">
                  <a:moveTo>
                    <a:pt x="551615" y="1908"/>
                  </a:moveTo>
                  <a:cubicBezTo>
                    <a:pt x="470977" y="49929"/>
                    <a:pt x="309395" y="51756"/>
                    <a:pt x="285619" y="51756"/>
                  </a:cubicBezTo>
                  <a:cubicBezTo>
                    <a:pt x="261842" y="51756"/>
                    <a:pt x="100261" y="49927"/>
                    <a:pt x="19622" y="1908"/>
                  </a:cubicBezTo>
                  <a:cubicBezTo>
                    <a:pt x="10894" y="-3289"/>
                    <a:pt x="0" y="2713"/>
                    <a:pt x="0" y="12870"/>
                  </a:cubicBezTo>
                  <a:lnTo>
                    <a:pt x="0" y="90703"/>
                  </a:lnTo>
                  <a:cubicBezTo>
                    <a:pt x="0" y="157379"/>
                    <a:pt x="170803" y="181582"/>
                    <a:pt x="285619" y="181582"/>
                  </a:cubicBezTo>
                  <a:cubicBezTo>
                    <a:pt x="400435" y="181582"/>
                    <a:pt x="571238" y="157380"/>
                    <a:pt x="571238" y="90703"/>
                  </a:cubicBezTo>
                  <a:lnTo>
                    <a:pt x="571238" y="12870"/>
                  </a:lnTo>
                  <a:cubicBezTo>
                    <a:pt x="571236" y="2713"/>
                    <a:pt x="560342" y="-3289"/>
                    <a:pt x="551615" y="1908"/>
                  </a:cubicBezTo>
                  <a:close/>
                </a:path>
              </a:pathLst>
            </a:custGeom>
            <a:grpFill/>
            <a:ln w="1198" cap="flat">
              <a:solidFill>
                <a:schemeClr val="bg2">
                  <a:lumMod val="25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s-MX"/>
            </a:p>
          </p:txBody>
        </p:sp>
      </p:grpSp>
      <p:sp>
        <p:nvSpPr>
          <p:cNvPr id="184" name="Rectangle: Rounded Corners 183">
            <a:extLst>
              <a:ext uri="{FF2B5EF4-FFF2-40B4-BE49-F238E27FC236}">
                <a16:creationId xmlns:a16="http://schemas.microsoft.com/office/drawing/2014/main" id="{DD94016E-C3F1-8B0D-F947-E40103246761}"/>
              </a:ext>
            </a:extLst>
          </p:cNvPr>
          <p:cNvSpPr/>
          <p:nvPr/>
        </p:nvSpPr>
        <p:spPr>
          <a:xfrm>
            <a:off x="6720881" y="1671152"/>
            <a:ext cx="1404760" cy="1168832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9AB1C3F5-1B85-8FA2-0515-18871090F072}"/>
              </a:ext>
            </a:extLst>
          </p:cNvPr>
          <p:cNvCxnSpPr>
            <a:cxnSpLocks/>
          </p:cNvCxnSpPr>
          <p:nvPr/>
        </p:nvCxnSpPr>
        <p:spPr>
          <a:xfrm flipV="1">
            <a:off x="5943809" y="847000"/>
            <a:ext cx="5583067" cy="3922"/>
          </a:xfrm>
          <a:prstGeom prst="line">
            <a:avLst/>
          </a:prstGeom>
          <a:ln w="19050">
            <a:solidFill>
              <a:srgbClr val="9999FF"/>
            </a:solidFill>
            <a:prstDash val="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8BFFFFCC-B576-6B0A-C261-3D49D03BE150}"/>
              </a:ext>
            </a:extLst>
          </p:cNvPr>
          <p:cNvCxnSpPr>
            <a:cxnSpLocks/>
          </p:cNvCxnSpPr>
          <p:nvPr/>
        </p:nvCxnSpPr>
        <p:spPr>
          <a:xfrm flipV="1">
            <a:off x="5979291" y="6126247"/>
            <a:ext cx="5583067" cy="3922"/>
          </a:xfrm>
          <a:prstGeom prst="line">
            <a:avLst/>
          </a:prstGeom>
          <a:ln w="19050">
            <a:solidFill>
              <a:srgbClr val="9999FF"/>
            </a:solidFill>
            <a:prstDash val="dash"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3" name="Rectangle: Rounded Corners 272">
            <a:extLst>
              <a:ext uri="{FF2B5EF4-FFF2-40B4-BE49-F238E27FC236}">
                <a16:creationId xmlns:a16="http://schemas.microsoft.com/office/drawing/2014/main" id="{75DE1407-F7B8-2FB4-F558-CCA325FF6F1F}"/>
              </a:ext>
            </a:extLst>
          </p:cNvPr>
          <p:cNvSpPr/>
          <p:nvPr/>
        </p:nvSpPr>
        <p:spPr>
          <a:xfrm>
            <a:off x="3853598" y="2940705"/>
            <a:ext cx="1627790" cy="572279"/>
          </a:xfrm>
          <a:prstGeom prst="roundRect">
            <a:avLst>
              <a:gd name="adj" fmla="val 0"/>
            </a:avLst>
          </a:prstGeom>
          <a:noFill/>
          <a:ln>
            <a:solidFill>
              <a:srgbClr val="FFFF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MISSION SPECIFIC TOOLS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B1899554-ECF0-B4AF-38FF-23B9C0A786FD}"/>
              </a:ext>
            </a:extLst>
          </p:cNvPr>
          <p:cNvGrpSpPr>
            <a:grpSpLocks noChangeAspect="1"/>
          </p:cNvGrpSpPr>
          <p:nvPr/>
        </p:nvGrpSpPr>
        <p:grpSpPr>
          <a:xfrm>
            <a:off x="3751410" y="2857917"/>
            <a:ext cx="196902" cy="196902"/>
            <a:chOff x="5197434" y="2144662"/>
            <a:chExt cx="257993" cy="257993"/>
          </a:xfrm>
        </p:grpSpPr>
        <p:pic>
          <p:nvPicPr>
            <p:cNvPr id="173" name="Picture 172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545E89C1-4070-CCFA-B54A-58D7C0F2F5B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174" name="Rectangle 173">
              <a:extLst>
                <a:ext uri="{FF2B5EF4-FFF2-40B4-BE49-F238E27FC236}">
                  <a16:creationId xmlns:a16="http://schemas.microsoft.com/office/drawing/2014/main" id="{8969810D-BA2A-E070-E659-E9ABB247734D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DC28C7B3-52B5-42AA-3E37-66EABB2A4449}"/>
              </a:ext>
            </a:extLst>
          </p:cNvPr>
          <p:cNvCxnSpPr>
            <a:cxnSpLocks/>
          </p:cNvCxnSpPr>
          <p:nvPr/>
        </p:nvCxnSpPr>
        <p:spPr>
          <a:xfrm rot="16200000" flipH="1">
            <a:off x="2641052" y="2017720"/>
            <a:ext cx="1380376" cy="1031582"/>
          </a:xfrm>
          <a:prstGeom prst="bentConnector3">
            <a:avLst>
              <a:gd name="adj1" fmla="val 100372"/>
            </a:avLst>
          </a:prstGeom>
          <a:ln w="25400">
            <a:solidFill>
              <a:schemeClr val="accent5">
                <a:lumMod val="20000"/>
                <a:lumOff val="8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Connector: Elbow 285">
            <a:extLst>
              <a:ext uri="{FF2B5EF4-FFF2-40B4-BE49-F238E27FC236}">
                <a16:creationId xmlns:a16="http://schemas.microsoft.com/office/drawing/2014/main" id="{B2EA4991-9834-37AA-EF5E-A9D45901624E}"/>
              </a:ext>
            </a:extLst>
          </p:cNvPr>
          <p:cNvCxnSpPr>
            <a:cxnSpLocks/>
            <a:stCxn id="273" idx="3"/>
            <a:endCxn id="184" idx="1"/>
          </p:cNvCxnSpPr>
          <p:nvPr/>
        </p:nvCxnSpPr>
        <p:spPr>
          <a:xfrm flipV="1">
            <a:off x="5481388" y="2255568"/>
            <a:ext cx="1239493" cy="971277"/>
          </a:xfrm>
          <a:prstGeom prst="bentConnector3">
            <a:avLst>
              <a:gd name="adj1" fmla="val 50000"/>
            </a:avLst>
          </a:prstGeom>
          <a:ln w="25400">
            <a:solidFill>
              <a:srgbClr val="FFFF00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0" name="Picture 309" descr="A picture containing font, graphics, symbol, art&#10;&#10;Description automatically generated">
            <a:extLst>
              <a:ext uri="{FF2B5EF4-FFF2-40B4-BE49-F238E27FC236}">
                <a16:creationId xmlns:a16="http://schemas.microsoft.com/office/drawing/2014/main" id="{D0CB08C9-7F13-F614-F8E4-5556FDD54603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106" y="2839984"/>
            <a:ext cx="295380" cy="295380"/>
          </a:xfrm>
          <a:prstGeom prst="rect">
            <a:avLst/>
          </a:prstGeom>
        </p:spPr>
      </p:pic>
      <p:sp>
        <p:nvSpPr>
          <p:cNvPr id="321" name="AutoShape 6" descr="jupyter logo">
            <a:extLst>
              <a:ext uri="{FF2B5EF4-FFF2-40B4-BE49-F238E27FC236}">
                <a16:creationId xmlns:a16="http://schemas.microsoft.com/office/drawing/2014/main" id="{C7824798-62E0-FCFF-5737-332375114D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111875" y="3252021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2" name="Rectangle: Rounded Corners 321">
            <a:extLst>
              <a:ext uri="{FF2B5EF4-FFF2-40B4-BE49-F238E27FC236}">
                <a16:creationId xmlns:a16="http://schemas.microsoft.com/office/drawing/2014/main" id="{85DCB34A-63A1-1B3E-1237-A822B078434B}"/>
              </a:ext>
            </a:extLst>
          </p:cNvPr>
          <p:cNvSpPr/>
          <p:nvPr/>
        </p:nvSpPr>
        <p:spPr>
          <a:xfrm>
            <a:off x="3845762" y="4242332"/>
            <a:ext cx="1661827" cy="572279"/>
          </a:xfrm>
          <a:prstGeom prst="roundRect">
            <a:avLst>
              <a:gd name="adj" fmla="val 0"/>
            </a:avLst>
          </a:prstGeom>
          <a:noFill/>
          <a:ln>
            <a:solidFill>
              <a:srgbClr val="FFFF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solidFill>
                  <a:schemeClr val="bg1"/>
                </a:solidFill>
              </a:rPr>
              <a:t>PIXEL-BASED</a:t>
            </a:r>
          </a:p>
          <a:p>
            <a:r>
              <a:rPr lang="en-GB" sz="1200" b="1">
                <a:solidFill>
                  <a:schemeClr val="bg1"/>
                </a:solidFill>
              </a:rPr>
              <a:t>DATA ACCESS</a:t>
            </a:r>
          </a:p>
        </p:txBody>
      </p:sp>
      <p:pic>
        <p:nvPicPr>
          <p:cNvPr id="324" name="Picture 323">
            <a:extLst>
              <a:ext uri="{FF2B5EF4-FFF2-40B4-BE49-F238E27FC236}">
                <a16:creationId xmlns:a16="http://schemas.microsoft.com/office/drawing/2014/main" id="{689BF046-E2F9-EC45-0B75-2F7A938C8DA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10217" y="4342849"/>
            <a:ext cx="467301" cy="324652"/>
          </a:xfrm>
          <a:prstGeom prst="rect">
            <a:avLst/>
          </a:prstGeom>
        </p:spPr>
      </p:pic>
      <p:cxnSp>
        <p:nvCxnSpPr>
          <p:cNvPr id="325" name="Connector: Elbow 324">
            <a:extLst>
              <a:ext uri="{FF2B5EF4-FFF2-40B4-BE49-F238E27FC236}">
                <a16:creationId xmlns:a16="http://schemas.microsoft.com/office/drawing/2014/main" id="{6C271C4C-F67C-2401-250C-191D908B1ED9}"/>
              </a:ext>
            </a:extLst>
          </p:cNvPr>
          <p:cNvCxnSpPr>
            <a:cxnSpLocks/>
            <a:endCxn id="322" idx="1"/>
          </p:cNvCxnSpPr>
          <p:nvPr/>
        </p:nvCxnSpPr>
        <p:spPr>
          <a:xfrm rot="16200000" flipH="1">
            <a:off x="1993342" y="2676052"/>
            <a:ext cx="2675456" cy="1029384"/>
          </a:xfrm>
          <a:prstGeom prst="bentConnector2">
            <a:avLst/>
          </a:prstGeom>
          <a:ln w="25400">
            <a:solidFill>
              <a:schemeClr val="accent5">
                <a:lumMod val="20000"/>
                <a:lumOff val="8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995023E8-E2B2-C4C6-0B33-BA9E1D237A55}"/>
              </a:ext>
            </a:extLst>
          </p:cNvPr>
          <p:cNvCxnSpPr>
            <a:cxnSpLocks/>
            <a:stCxn id="322" idx="3"/>
          </p:cNvCxnSpPr>
          <p:nvPr/>
        </p:nvCxnSpPr>
        <p:spPr>
          <a:xfrm>
            <a:off x="5507589" y="4528472"/>
            <a:ext cx="599212" cy="2322"/>
          </a:xfrm>
          <a:prstGeom prst="line">
            <a:avLst/>
          </a:prstGeom>
          <a:ln w="25400">
            <a:solidFill>
              <a:srgbClr val="FFFF00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Straight Connector 339">
            <a:extLst>
              <a:ext uri="{FF2B5EF4-FFF2-40B4-BE49-F238E27FC236}">
                <a16:creationId xmlns:a16="http://schemas.microsoft.com/office/drawing/2014/main" id="{9E8EF2B9-1847-6306-A337-41B41AC202C4}"/>
              </a:ext>
            </a:extLst>
          </p:cNvPr>
          <p:cNvCxnSpPr>
            <a:cxnSpLocks/>
          </p:cNvCxnSpPr>
          <p:nvPr/>
        </p:nvCxnSpPr>
        <p:spPr>
          <a:xfrm>
            <a:off x="6100148" y="3226575"/>
            <a:ext cx="3327" cy="1296387"/>
          </a:xfrm>
          <a:prstGeom prst="line">
            <a:avLst/>
          </a:prstGeom>
          <a:ln w="254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D78AD426-290E-AE6C-6A07-DB3B89246F0E}"/>
              </a:ext>
            </a:extLst>
          </p:cNvPr>
          <p:cNvGrpSpPr>
            <a:grpSpLocks noChangeAspect="1"/>
          </p:cNvGrpSpPr>
          <p:nvPr/>
        </p:nvGrpSpPr>
        <p:grpSpPr>
          <a:xfrm>
            <a:off x="3755147" y="4145947"/>
            <a:ext cx="196902" cy="196902"/>
            <a:chOff x="5197434" y="2144662"/>
            <a:chExt cx="257993" cy="257993"/>
          </a:xfrm>
        </p:grpSpPr>
        <p:pic>
          <p:nvPicPr>
            <p:cNvPr id="344" name="Picture 343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592B6683-EEAC-CA16-0982-7D3EED863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1529CA0C-9D5A-C904-406C-E1E775BBB5A1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347" name="Picture 346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1498F55D-4D49-FC24-B4EA-2586A751F4F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586" y="1609996"/>
            <a:ext cx="461976" cy="461976"/>
          </a:xfrm>
          <a:prstGeom prst="rect">
            <a:avLst/>
          </a:prstGeom>
        </p:spPr>
      </p:pic>
      <p:pic>
        <p:nvPicPr>
          <p:cNvPr id="349" name="Graphic 348" descr="Lock with solid fill">
            <a:extLst>
              <a:ext uri="{FF2B5EF4-FFF2-40B4-BE49-F238E27FC236}">
                <a16:creationId xmlns:a16="http://schemas.microsoft.com/office/drawing/2014/main" id="{14769BDF-59AF-3F2C-BF71-EA3742ECBFFB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45052" y="3991884"/>
            <a:ext cx="394735" cy="394735"/>
          </a:xfrm>
          <a:prstGeom prst="rect">
            <a:avLst/>
          </a:prstGeom>
        </p:spPr>
      </p:pic>
      <p:pic>
        <p:nvPicPr>
          <p:cNvPr id="350" name="Graphic 349" descr="Lock with solid fill">
            <a:extLst>
              <a:ext uri="{FF2B5EF4-FFF2-40B4-BE49-F238E27FC236}">
                <a16:creationId xmlns:a16="http://schemas.microsoft.com/office/drawing/2014/main" id="{AA237E3D-AA2D-1888-2DE6-795C4B267FAF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868517" y="1056807"/>
            <a:ext cx="394735" cy="394735"/>
          </a:xfrm>
          <a:prstGeom prst="rect">
            <a:avLst/>
          </a:prstGeom>
        </p:spPr>
      </p:pic>
      <p:pic>
        <p:nvPicPr>
          <p:cNvPr id="3" name="Picture 2" descr="Diagram, arrow&#10;&#10;Description automatically generated">
            <a:extLst>
              <a:ext uri="{FF2B5EF4-FFF2-40B4-BE49-F238E27FC236}">
                <a16:creationId xmlns:a16="http://schemas.microsoft.com/office/drawing/2014/main" id="{41C8CDEA-384A-49CD-266C-514D84D48FE9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7371" y="4892552"/>
            <a:ext cx="1092464" cy="630898"/>
          </a:xfrm>
          <a:prstGeom prst="rect">
            <a:avLst/>
          </a:prstGeom>
        </p:spPr>
      </p:pic>
      <p:pic>
        <p:nvPicPr>
          <p:cNvPr id="5" name="Picture 4" descr="A picture containing symbol, font, graphics, logo&#10;&#10;Description automatically generated">
            <a:extLst>
              <a:ext uri="{FF2B5EF4-FFF2-40B4-BE49-F238E27FC236}">
                <a16:creationId xmlns:a16="http://schemas.microsoft.com/office/drawing/2014/main" id="{BF5DA893-FE59-19E1-13DE-B831855E97C3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07" y="4974640"/>
            <a:ext cx="461976" cy="461976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88EB590-E7D1-D61F-92E4-A12813A8E1B4}"/>
              </a:ext>
            </a:extLst>
          </p:cNvPr>
          <p:cNvGrpSpPr>
            <a:grpSpLocks noChangeAspect="1"/>
          </p:cNvGrpSpPr>
          <p:nvPr/>
        </p:nvGrpSpPr>
        <p:grpSpPr>
          <a:xfrm>
            <a:off x="11916020" y="2468223"/>
            <a:ext cx="309318" cy="309318"/>
            <a:chOff x="5197434" y="2144662"/>
            <a:chExt cx="257993" cy="257993"/>
          </a:xfrm>
        </p:grpSpPr>
        <p:pic>
          <p:nvPicPr>
            <p:cNvPr id="12" name="Picture 11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F732DD5B-4B7C-1FC0-1125-07BD47E89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C4CEDB8-574A-EA44-9EA5-46B42D312F83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74E2D595-83DA-DC68-4241-606F365A30CD}"/>
              </a:ext>
            </a:extLst>
          </p:cNvPr>
          <p:cNvCxnSpPr>
            <a:cxnSpLocks/>
            <a:stCxn id="3" idx="2"/>
            <a:endCxn id="322" idx="2"/>
          </p:cNvCxnSpPr>
          <p:nvPr/>
        </p:nvCxnSpPr>
        <p:spPr>
          <a:xfrm rot="5400000" flipH="1" flipV="1">
            <a:off x="3010719" y="3857494"/>
            <a:ext cx="708839" cy="2623073"/>
          </a:xfrm>
          <a:prstGeom prst="bentConnector3">
            <a:avLst>
              <a:gd name="adj1" fmla="val -32250"/>
            </a:avLst>
          </a:prstGeom>
          <a:ln w="28575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69D61D2-4D80-09A8-E9FF-7E34D9175C0A}"/>
              </a:ext>
            </a:extLst>
          </p:cNvPr>
          <p:cNvSpPr/>
          <p:nvPr/>
        </p:nvSpPr>
        <p:spPr>
          <a:xfrm>
            <a:off x="3845762" y="1524354"/>
            <a:ext cx="1642943" cy="624343"/>
          </a:xfrm>
          <a:prstGeom prst="roundRect">
            <a:avLst>
              <a:gd name="adj" fmla="val 0"/>
            </a:avLst>
          </a:prstGeom>
          <a:noFill/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DATA DOWNLOAD</a:t>
            </a:r>
          </a:p>
        </p:txBody>
      </p: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27537EC1-C54B-4BAC-9DC0-99DE392558B0}"/>
              </a:ext>
            </a:extLst>
          </p:cNvPr>
          <p:cNvGrpSpPr>
            <a:grpSpLocks noChangeAspect="1"/>
          </p:cNvGrpSpPr>
          <p:nvPr/>
        </p:nvGrpSpPr>
        <p:grpSpPr>
          <a:xfrm>
            <a:off x="3747310" y="1437127"/>
            <a:ext cx="196902" cy="196902"/>
            <a:chOff x="5197434" y="2144662"/>
            <a:chExt cx="257993" cy="257993"/>
          </a:xfrm>
        </p:grpSpPr>
        <p:pic>
          <p:nvPicPr>
            <p:cNvPr id="317" name="Picture 316" descr="A blue shield with a white fingerprint and green ticks&#10;&#10;Description automatically generated with low confidence">
              <a:extLst>
                <a:ext uri="{FF2B5EF4-FFF2-40B4-BE49-F238E27FC236}">
                  <a16:creationId xmlns:a16="http://schemas.microsoft.com/office/drawing/2014/main" id="{75D05E97-A1C2-AADC-A102-5E98189D61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197434" y="2144662"/>
              <a:ext cx="257993" cy="257993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solidFill>
                <a:schemeClr val="accent6"/>
              </a:solidFill>
            </a:ln>
          </p:spPr>
        </p:pic>
        <p:sp>
          <p:nvSpPr>
            <p:cNvPr id="318" name="Rectangle 317">
              <a:extLst>
                <a:ext uri="{FF2B5EF4-FFF2-40B4-BE49-F238E27FC236}">
                  <a16:creationId xmlns:a16="http://schemas.microsoft.com/office/drawing/2014/main" id="{BC0ED0C8-764F-07DD-D216-062F3DBF99C5}"/>
                </a:ext>
              </a:extLst>
            </p:cNvPr>
            <p:cNvSpPr/>
            <p:nvPr/>
          </p:nvSpPr>
          <p:spPr>
            <a:xfrm>
              <a:off x="5197434" y="2144662"/>
              <a:ext cx="257993" cy="249087"/>
            </a:xfrm>
            <a:prstGeom prst="rect">
              <a:avLst/>
            </a:prstGeom>
            <a:solidFill>
              <a:schemeClr val="tx1">
                <a:lumMod val="25000"/>
                <a:lumOff val="75000"/>
                <a:alpha val="39000"/>
              </a:schemeClr>
            </a:solidFill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BB3A27A7-86AF-9A07-7DBF-97B8FFD5B26D}"/>
              </a:ext>
            </a:extLst>
          </p:cNvPr>
          <p:cNvCxnSpPr>
            <a:cxnSpLocks/>
          </p:cNvCxnSpPr>
          <p:nvPr/>
        </p:nvCxnSpPr>
        <p:spPr>
          <a:xfrm>
            <a:off x="5481388" y="1821477"/>
            <a:ext cx="1239493" cy="0"/>
          </a:xfrm>
          <a:prstGeom prst="straightConnector1">
            <a:avLst/>
          </a:prstGeom>
          <a:ln w="25400">
            <a:solidFill>
              <a:schemeClr val="accent5">
                <a:lumMod val="20000"/>
                <a:lumOff val="80000"/>
              </a:schemeClr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5745CD9-8894-F3A4-2008-A13CBCE57403}"/>
              </a:ext>
            </a:extLst>
          </p:cNvPr>
          <p:cNvCxnSpPr>
            <a:cxnSpLocks/>
            <a:endCxn id="6" idx="1"/>
          </p:cNvCxnSpPr>
          <p:nvPr/>
        </p:nvCxnSpPr>
        <p:spPr>
          <a:xfrm>
            <a:off x="2473109" y="1836526"/>
            <a:ext cx="1372653" cy="0"/>
          </a:xfrm>
          <a:prstGeom prst="straightConnector1">
            <a:avLst/>
          </a:prstGeom>
          <a:ln w="25400">
            <a:solidFill>
              <a:schemeClr val="accent5">
                <a:lumMod val="20000"/>
                <a:lumOff val="8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6B5A0A6-C05E-6FF8-094D-22D72B2C521F}"/>
              </a:ext>
            </a:extLst>
          </p:cNvPr>
          <p:cNvSpPr/>
          <p:nvPr/>
        </p:nvSpPr>
        <p:spPr>
          <a:xfrm>
            <a:off x="9024928" y="1695383"/>
            <a:ext cx="1403998" cy="1156424"/>
          </a:xfrm>
          <a:prstGeom prst="roundRect">
            <a:avLst>
              <a:gd name="adj" fmla="val 0"/>
            </a:avLst>
          </a:prstGeom>
          <a:noFill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  <a:p>
            <a:pPr algn="ctr"/>
            <a:endParaRPr lang="en-GB">
              <a:solidFill>
                <a:schemeClr val="tx1"/>
              </a:solidFill>
            </a:endParaRPr>
          </a:p>
        </p:txBody>
      </p:sp>
      <mc:AlternateContent xmlns:mc="http://schemas.openxmlformats.org/markup-compatibility/2006">
        <mc:Choice xmlns:pslz="http://schemas.microsoft.com/office/powerpoint/2016/slidezoom" Requires="pslz">
          <p:graphicFrame>
            <p:nvGraphicFramePr>
              <p:cNvPr id="141" name="Slide Zoom 140">
                <a:extLst>
                  <a:ext uri="{FF2B5EF4-FFF2-40B4-BE49-F238E27FC236}">
                    <a16:creationId xmlns:a16="http://schemas.microsoft.com/office/drawing/2014/main" id="{9C65E45C-C8C6-0219-AE6A-66EDE11297E6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859408" y="3403173"/>
              <a:ext cx="860456" cy="482686"/>
            </p:xfrm>
            <a:graphic>
              <a:graphicData uri="http://schemas.microsoft.com/office/powerpoint/2016/slidezoom">
                <pslz:sldZm>
                  <pslz:sldZmObj sldId="4415" cId="738947159">
                    <pslz:zmPr id="{BB505F17-5929-4342-A534-32F008EFCE44}" returnToParent="0" transitionDur="1000">
                      <p166:blipFill xmlns:p166="http://schemas.microsoft.com/office/powerpoint/2016/6/main">
                        <a:blip r:embed="rId2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860456" cy="48268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141" name="Slide Zoom 140">
                <a:extLst>
                  <a:ext uri="{FF2B5EF4-FFF2-40B4-BE49-F238E27FC236}">
                    <a16:creationId xmlns:a16="http://schemas.microsoft.com/office/drawing/2014/main" id="{9C65E45C-C8C6-0219-AE6A-66EDE11297E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4859408" y="3403173"/>
                <a:ext cx="860456" cy="482686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81BC9EC1-1E03-6375-C59C-3AFF72EF0953}"/>
              </a:ext>
            </a:extLst>
          </p:cNvPr>
          <p:cNvCxnSpPr>
            <a:cxnSpLocks/>
          </p:cNvCxnSpPr>
          <p:nvPr/>
        </p:nvCxnSpPr>
        <p:spPr>
          <a:xfrm flipV="1">
            <a:off x="8523388" y="5663197"/>
            <a:ext cx="0" cy="228448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6C28DFB6-F089-0795-A196-FBC8727084F2}"/>
              </a:ext>
            </a:extLst>
          </p:cNvPr>
          <p:cNvSpPr txBox="1"/>
          <p:nvPr/>
        </p:nvSpPr>
        <p:spPr>
          <a:xfrm>
            <a:off x="8027238" y="5877751"/>
            <a:ext cx="121175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50" b="1">
                <a:solidFill>
                  <a:schemeClr val="bg1"/>
                </a:solidFill>
                <a:latin typeface="+mj-lt"/>
              </a:rPr>
              <a:t>ACQUISITION</a:t>
            </a:r>
            <a:endParaRPr lang="en-GB" sz="10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28155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0B95BF-EFEE-BE71-1F0B-D143AE7D8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54800"/>
            <a:ext cx="10108800" cy="565200"/>
          </a:xfrm>
        </p:spPr>
        <p:txBody>
          <a:bodyPr wrap="square" anchor="ctr">
            <a:normAutofit/>
          </a:bodyPr>
          <a:lstStyle/>
          <a:p>
            <a:r>
              <a:rPr lang="en-GB" sz="2800"/>
              <a:t>DRIVERS for the EO GROUND SEGMENT EVOLUTION</a:t>
            </a: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668D7305-19B7-9A07-A78D-6CCEC3F4EC4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2671746"/>
              </p:ext>
            </p:extLst>
          </p:nvPr>
        </p:nvGraphicFramePr>
        <p:xfrm>
          <a:off x="219600" y="882000"/>
          <a:ext cx="11795828" cy="532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2594435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FAF1E-D2AC-AF8C-5229-B21C473090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6000" y="154800"/>
            <a:ext cx="10108800" cy="565200"/>
          </a:xfrm>
        </p:spPr>
        <p:txBody>
          <a:bodyPr wrap="square" anchor="ctr">
            <a:normAutofit/>
          </a:bodyPr>
          <a:lstStyle/>
          <a:p>
            <a:r>
              <a:rPr lang="en-GB"/>
              <a:t>Demonstrators - Major guidelines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FA87312D-98D3-59A0-5260-8745FFC1D6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94290805"/>
              </p:ext>
            </p:extLst>
          </p:nvPr>
        </p:nvGraphicFramePr>
        <p:xfrm>
          <a:off x="230269" y="3340061"/>
          <a:ext cx="11764800" cy="227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Content Placeholder 2">
            <a:extLst>
              <a:ext uri="{FF2B5EF4-FFF2-40B4-BE49-F238E27FC236}">
                <a16:creationId xmlns:a16="http://schemas.microsoft.com/office/drawing/2014/main" id="{A9F6D8DC-0E4B-525F-9B64-280F12600A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6046156"/>
              </p:ext>
            </p:extLst>
          </p:nvPr>
        </p:nvGraphicFramePr>
        <p:xfrm>
          <a:off x="230269" y="1027934"/>
          <a:ext cx="11764800" cy="2278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CF81DF1D-B0B3-D13A-BBD0-659764DF23AE}"/>
              </a:ext>
            </a:extLst>
          </p:cNvPr>
          <p:cNvSpPr txBox="1"/>
          <p:nvPr/>
        </p:nvSpPr>
        <p:spPr>
          <a:xfrm>
            <a:off x="4628929" y="1023929"/>
            <a:ext cx="29674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Basic Initiative Princip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9E00860-ADA8-8110-0739-789BFE43681D}"/>
              </a:ext>
            </a:extLst>
          </p:cNvPr>
          <p:cNvSpPr txBox="1"/>
          <p:nvPr/>
        </p:nvSpPr>
        <p:spPr>
          <a:xfrm>
            <a:off x="4795641" y="3244334"/>
            <a:ext cx="263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Expected Deliverab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F180E35-82A0-4013-33F5-C868D0544A3F}"/>
              </a:ext>
            </a:extLst>
          </p:cNvPr>
          <p:cNvSpPr txBox="1"/>
          <p:nvPr/>
        </p:nvSpPr>
        <p:spPr>
          <a:xfrm>
            <a:off x="5361981" y="5652188"/>
            <a:ext cx="1501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Time Period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5580FFF1-83BF-BE72-81A1-6023048D8058}"/>
              </a:ext>
            </a:extLst>
          </p:cNvPr>
          <p:cNvSpPr/>
          <p:nvPr/>
        </p:nvSpPr>
        <p:spPr>
          <a:xfrm>
            <a:off x="2011681" y="6055374"/>
            <a:ext cx="8377646" cy="319299"/>
          </a:xfrm>
          <a:prstGeom prst="rightArrow">
            <a:avLst/>
          </a:prstGeom>
          <a:gradFill flip="none" rotWithShape="1">
            <a:gsLst>
              <a:gs pos="0">
                <a:schemeClr val="accent4">
                  <a:shade val="30000"/>
                  <a:satMod val="115000"/>
                </a:schemeClr>
              </a:gs>
              <a:gs pos="50000">
                <a:schemeClr val="accent4">
                  <a:shade val="67500"/>
                  <a:satMod val="115000"/>
                </a:schemeClr>
              </a:gs>
              <a:gs pos="100000">
                <a:schemeClr val="accent4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887551-7B82-2F2F-8B9F-5CD8166942EF}"/>
              </a:ext>
            </a:extLst>
          </p:cNvPr>
          <p:cNvSpPr txBox="1"/>
          <p:nvPr/>
        </p:nvSpPr>
        <p:spPr>
          <a:xfrm>
            <a:off x="1576305" y="5727428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4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Q1 2023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33E5F07-BBBD-A286-EA56-52BF0E5833C8}"/>
              </a:ext>
            </a:extLst>
          </p:cNvPr>
          <p:cNvSpPr txBox="1"/>
          <p:nvPr/>
        </p:nvSpPr>
        <p:spPr>
          <a:xfrm>
            <a:off x="9778279" y="5692594"/>
            <a:ext cx="8707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4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Q1 2024</a:t>
            </a:r>
          </a:p>
        </p:txBody>
      </p:sp>
      <p:pic>
        <p:nvPicPr>
          <p:cNvPr id="12" name="Graphic 11" descr="Cycling with solid fill">
            <a:extLst>
              <a:ext uri="{FF2B5EF4-FFF2-40B4-BE49-F238E27FC236}">
                <a16:creationId xmlns:a16="http://schemas.microsoft.com/office/drawing/2014/main" id="{459040D1-9B68-212B-609C-095D4E67CFA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81241" y="5881316"/>
            <a:ext cx="470262" cy="470262"/>
          </a:xfrm>
          <a:prstGeom prst="rect">
            <a:avLst/>
          </a:prstGeom>
        </p:spPr>
      </p:pic>
      <p:pic>
        <p:nvPicPr>
          <p:cNvPr id="13" name="Graphic 12" descr="Cycling with solid fill">
            <a:extLst>
              <a:ext uri="{FF2B5EF4-FFF2-40B4-BE49-F238E27FC236}">
                <a16:creationId xmlns:a16="http://schemas.microsoft.com/office/drawing/2014/main" id="{673B44C3-F2A8-1A8C-324B-30258801D60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96408" y="5864902"/>
            <a:ext cx="470262" cy="470262"/>
          </a:xfrm>
          <a:prstGeom prst="rect">
            <a:avLst/>
          </a:prstGeom>
        </p:spPr>
      </p:pic>
      <p:pic>
        <p:nvPicPr>
          <p:cNvPr id="15" name="Graphic 14" descr="Landing with solid fill">
            <a:extLst>
              <a:ext uri="{FF2B5EF4-FFF2-40B4-BE49-F238E27FC236}">
                <a16:creationId xmlns:a16="http://schemas.microsoft.com/office/drawing/2014/main" id="{87DEB7C3-2659-412C-D024-072ADD37F76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18856" y="5831257"/>
            <a:ext cx="405936" cy="405936"/>
          </a:xfrm>
          <a:prstGeom prst="rect">
            <a:avLst/>
          </a:prstGeom>
        </p:spPr>
      </p:pic>
      <p:pic>
        <p:nvPicPr>
          <p:cNvPr id="17" name="Graphic 16" descr="Take Off with solid fill">
            <a:extLst>
              <a:ext uri="{FF2B5EF4-FFF2-40B4-BE49-F238E27FC236}">
                <a16:creationId xmlns:a16="http://schemas.microsoft.com/office/drawing/2014/main" id="{5C0C72E5-AF38-4286-102F-3BFE324A311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348447" y="5811468"/>
            <a:ext cx="417808" cy="417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8982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wAO7LJRE.Y.L.htz5.Bg"/>
</p:tagLst>
</file>

<file path=ppt/theme/theme1.xml><?xml version="1.0" encoding="utf-8"?>
<a:theme xmlns:a="http://schemas.openxmlformats.org/drawingml/2006/main" name="ESA_Presentation_DARK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6AA67823-AB11-4C2B-8D34-BC63FAC8D624}"/>
    </a:ext>
  </a:extLst>
</a:theme>
</file>

<file path=ppt/theme/theme2.xml><?xml version="1.0" encoding="utf-8"?>
<a:theme xmlns:a="http://schemas.openxmlformats.org/drawingml/2006/main" name="ESA_Presentation_DARK_BG">
  <a:themeElements>
    <a:clrScheme name="ESA Presentation 2020 Dark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00AE9C"/>
      </a:accent1>
      <a:accent2>
        <a:srgbClr val="EC1A2F"/>
      </a:accent2>
      <a:accent3>
        <a:srgbClr val="FBAB18"/>
      </a:accent3>
      <a:accent4>
        <a:srgbClr val="009BDA"/>
      </a:accent4>
      <a:accent5>
        <a:srgbClr val="8096A6"/>
      </a:accent5>
      <a:accent6>
        <a:srgbClr val="E7E8E3"/>
      </a:accent6>
      <a:hlink>
        <a:srgbClr val="6DCFF6"/>
      </a:hlink>
      <a:folHlink>
        <a:srgbClr val="009B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1B2B1F32-0869-4E70-95F0-DD1D08A8AFC1}"/>
    </a:ext>
  </a:extLst>
</a:theme>
</file>

<file path=ppt/theme/theme3.xml><?xml version="1.0" encoding="utf-8"?>
<a:theme xmlns:a="http://schemas.openxmlformats.org/drawingml/2006/main" name="ESA_Presentation_CLEAR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>
            <a:solidFill>
              <a:srgbClr val="8197A6"/>
            </a:solidFill>
            <a:latin typeface="Arial" panose="020B0604020202020204" pitchFamily="34" charset="0"/>
            <a:ea typeface="MS PGothic" pitchFamily="34" charset="-128"/>
            <a:cs typeface="Arial" panose="020B0604020202020204" pitchFamily="34" charset="0"/>
          </a:defRPr>
        </a:defPPr>
      </a:lstStyle>
    </a:txDef>
  </a:objectDefaults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FD0E5E75-7717-46C2-B7DD-6B9340E741A3}"/>
    </a:ext>
  </a:extLst>
</a:theme>
</file>

<file path=ppt/theme/theme4.xml><?xml version="1.0" encoding="utf-8"?>
<a:theme xmlns:a="http://schemas.openxmlformats.org/drawingml/2006/main" name="ESA_Presentation_CLEAR_BG">
  <a:themeElements>
    <a:clrScheme name="ESA Presentation 2020 Light">
      <a:dk1>
        <a:srgbClr val="003249"/>
      </a:dk1>
      <a:lt1>
        <a:srgbClr val="FEFFFF"/>
      </a:lt1>
      <a:dk2>
        <a:srgbClr val="335E6E"/>
      </a:dk2>
      <a:lt2>
        <a:srgbClr val="E7E8E3"/>
      </a:lt2>
      <a:accent1>
        <a:srgbClr val="75C8AE"/>
      </a:accent1>
      <a:accent2>
        <a:srgbClr val="F06669"/>
      </a:accent2>
      <a:accent3>
        <a:srgbClr val="FFCC4D"/>
      </a:accent3>
      <a:accent4>
        <a:srgbClr val="6DCFF6"/>
      </a:accent4>
      <a:accent5>
        <a:srgbClr val="8096A6"/>
      </a:accent5>
      <a:accent6>
        <a:srgbClr val="E7E8E3"/>
      </a:accent6>
      <a:hlink>
        <a:srgbClr val="009BDA"/>
      </a:hlink>
      <a:folHlink>
        <a:srgbClr val="75C8A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a presentation 1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338D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ADC5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2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98DB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AACAEA"/>
        </a:accent5>
        <a:accent6>
          <a:srgbClr val="00783B"/>
        </a:accent6>
        <a:hlink>
          <a:srgbClr val="E37222"/>
        </a:hlink>
        <a:folHlink>
          <a:srgbClr val="00338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3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008542"/>
        </a:accent1>
        <a:accent2>
          <a:srgbClr val="003397"/>
        </a:accent2>
        <a:accent3>
          <a:srgbClr val="FFFFFF"/>
        </a:accent3>
        <a:accent4>
          <a:srgbClr val="404246"/>
        </a:accent4>
        <a:accent5>
          <a:srgbClr val="AAC2B0"/>
        </a:accent5>
        <a:accent6>
          <a:srgbClr val="002D88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4">
        <a:dk1>
          <a:srgbClr val="4D4F53"/>
        </a:dk1>
        <a:lt1>
          <a:srgbClr val="FFFFFF"/>
        </a:lt1>
        <a:dk2>
          <a:srgbClr val="D0103A"/>
        </a:dk2>
        <a:lt2>
          <a:srgbClr val="000000"/>
        </a:lt2>
        <a:accent1>
          <a:srgbClr val="E37222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FBCAB"/>
        </a:accent5>
        <a:accent6>
          <a:srgbClr val="00783B"/>
        </a:accent6>
        <a:hlink>
          <a:srgbClr val="00338D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5">
        <a:dk1>
          <a:srgbClr val="4D4F53"/>
        </a:dk1>
        <a:lt1>
          <a:srgbClr val="FFFFFF"/>
        </a:lt1>
        <a:dk2>
          <a:srgbClr val="00338D"/>
        </a:dk2>
        <a:lt2>
          <a:srgbClr val="000000"/>
        </a:lt2>
        <a:accent1>
          <a:srgbClr val="D0103A"/>
        </a:accent1>
        <a:accent2>
          <a:srgbClr val="008542"/>
        </a:accent2>
        <a:accent3>
          <a:srgbClr val="FFFFFF"/>
        </a:accent3>
        <a:accent4>
          <a:srgbClr val="404246"/>
        </a:accent4>
        <a:accent5>
          <a:srgbClr val="E4AAAE"/>
        </a:accent5>
        <a:accent6>
          <a:srgbClr val="00783B"/>
        </a:accent6>
        <a:hlink>
          <a:srgbClr val="E37222"/>
        </a:hlink>
        <a:folHlink>
          <a:srgbClr val="0098D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6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338D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ADC5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7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98DB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AEA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8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00854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AAC2B0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9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E37222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FBCAB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0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D0103A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E4AAAE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a presentation 11">
        <a:dk1>
          <a:srgbClr val="000000"/>
        </a:dk1>
        <a:lt1>
          <a:srgbClr val="FFFFFF"/>
        </a:lt1>
        <a:dk2>
          <a:srgbClr val="747678"/>
        </a:dk2>
        <a:lt2>
          <a:srgbClr val="4D4F53"/>
        </a:lt2>
        <a:accent1>
          <a:srgbClr val="8B8D8E"/>
        </a:accent1>
        <a:accent2>
          <a:srgbClr val="D5D6D2"/>
        </a:accent2>
        <a:accent3>
          <a:srgbClr val="FFFFFF"/>
        </a:accent3>
        <a:accent4>
          <a:srgbClr val="000000"/>
        </a:accent4>
        <a:accent5>
          <a:srgbClr val="C4C5C6"/>
        </a:accent5>
        <a:accent6>
          <a:srgbClr val="C1C2BE"/>
        </a:accent6>
        <a:hlink>
          <a:srgbClr val="8B8D8E"/>
        </a:hlink>
        <a:folHlink>
          <a:srgbClr val="9A9B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2020_ESA_Presentation.potx" id="{3960ED60-8A23-46C4-B339-32CD106C96D9}" vid="{8F05BAB2-BE42-419F-A679-AC1342FCD50B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ESA_Documents" ma:contentTypeID="0x010100B93108F87DD4F24BAE6D0E809C37974D000FC206F40FA8F44792B0B25BFFF4A9D0" ma:contentTypeVersion="43" ma:contentTypeDescription="" ma:contentTypeScope="" ma:versionID="9b1703045571109d1041c6f1d6402cb6">
  <xsd:schema xmlns:xsd="http://www.w3.org/2001/XMLSchema" xmlns:xs="http://www.w3.org/2001/XMLSchema" xmlns:p="http://schemas.microsoft.com/office/2006/metadata/properties" xmlns:ns2="ddc99d1b-0883-4f2c-a8e6-6d8ebaa0e5d6" xmlns:ns3="http://schemas.microsoft.com/sharepoint/v3/fields" xmlns:ns4="http://schemas.microsoft.com/sharepoint/v4" targetNamespace="http://schemas.microsoft.com/office/2006/metadata/properties" ma:root="true" ma:fieldsID="8aee6ade98337e03742b7c59ef1ca971" ns2:_="" ns3:_="" ns4:_="">
    <xsd:import namespace="ddc99d1b-0883-4f2c-a8e6-6d8ebaa0e5d6"/>
    <xsd:import namespace="http://schemas.microsoft.com/sharepoint/v3/fields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Document_x0020_Type" minOccurs="0"/>
                <xsd:element ref="ns2:Reference" minOccurs="0"/>
                <xsd:element ref="ns2:Assign_x0020_document_x0020_reference" minOccurs="0"/>
                <xsd:element ref="ns2:Classification" minOccurs="0"/>
                <xsd:element ref="ns2:Classification_x0020_Caveat" minOccurs="0"/>
                <xsd:element ref="ns2:Issue_x0020_Date" minOccurs="0"/>
                <xsd:element ref="ns2:Issue" minOccurs="0"/>
                <xsd:element ref="ns3:Revision" minOccurs="0"/>
                <xsd:element ref="ns3:Status" minOccurs="0"/>
                <xsd:element ref="ns2:Distribution" minOccurs="0"/>
                <xsd:element ref="ns2:Organisational_x0020_entity" minOccurs="0"/>
                <xsd:element ref="ns2:_dlc_DocId" minOccurs="0"/>
                <xsd:element ref="ns2:_dlc_DocIdUrl" minOccurs="0"/>
                <xsd:element ref="ns2:_dlc_DocIdPersistId" minOccurs="0"/>
                <xsd:element ref="ns2:In_iShare" minOccurs="0"/>
                <xsd:element ref="ns2:AutoSync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c99d1b-0883-4f2c-a8e6-6d8ebaa0e5d6" elementFormDefault="qualified">
    <xsd:import namespace="http://schemas.microsoft.com/office/2006/documentManagement/types"/>
    <xsd:import namespace="http://schemas.microsoft.com/office/infopath/2007/PartnerControls"/>
    <xsd:element name="Document_x0020_Type" ma:index="2" nillable="true" ma:displayName="Document Type" ma:format="Dropdown" ma:internalName="Document_x0020_Type">
      <xsd:simpleType>
        <xsd:restriction base="dms:Choice">
          <xsd:enumeration value="AD - Assumption Document"/>
          <xsd:enumeration value="AN - Analysis"/>
          <xsd:enumeration value="AO - Announcement of Opportunity"/>
          <xsd:enumeration value="AR - Article"/>
          <xsd:enumeration value="BR - Brochure"/>
          <xsd:enumeration value="CCN - Contract Change Notice"/>
          <xsd:enumeration value="CE - Certificate (Certificate / Statement of Conformance, etc.)"/>
          <xsd:enumeration value="CO - Contract / Rider"/>
          <xsd:enumeration value="CP - Change Proposal (Engineering / Document)"/>
          <xsd:enumeration value="CR - Change Request (Engineering / Configuration)"/>
          <xsd:enumeration value="CT - Cost Documents (Estimate / CaC / CtC, etc)"/>
          <xsd:enumeration value="DCR - Cost Documents (Estimate / CaC / CtC, etc)"/>
          <xsd:enumeration value="DD - Design Description / Document"/>
          <xsd:enumeration value="DEC - Declaration"/>
          <xsd:enumeration value="DN - Delivery Notice / Release Notice / Transfer Notice"/>
          <xsd:enumeration value="DP - Data Package"/>
          <xsd:enumeration value="DRD - Document Requirements Definition"/>
          <xsd:enumeration value="DW - Drawing / Diagram"/>
          <xsd:enumeration value="EM - E-mail"/>
          <xsd:enumeration value="EX - Executive Summary"/>
          <xsd:enumeration value="FAX - Fax"/>
          <xsd:enumeration value="FI - File (Software / Configuration / Network)"/>
          <xsd:enumeration value="HO - Handout / Presentation"/>
          <xsd:enumeration value="IF - Interface Requirement / Specification / Interface Control Document / EID"/>
          <xsd:enumeration value="INS - Instruction"/>
          <xsd:enumeration value="ITT - Invitation to Tender"/>
          <xsd:enumeration value="LB - Logbook"/>
          <xsd:enumeration value="LE - Letter"/>
          <xsd:enumeration value="LEG - Legal Text"/>
          <xsd:enumeration value="LI - List"/>
          <xsd:enumeration value="MAN - Manual / User Guide / Handbook"/>
          <xsd:enumeration value="MIN - Minutes of Meeting"/>
          <xsd:enumeration value="ML - Model"/>
          <xsd:enumeration value="MO - Memorandum"/>
          <xsd:enumeration value="MOU - Agreement / Memorandum of Understanding"/>
          <xsd:enumeration value="MX - Matrix / Compliance"/>
          <xsd:enumeration value="NC - Non-Conformance"/>
          <xsd:enumeration value="NDA - Non-disclosure agreement"/>
          <xsd:enumeration value="OD - Operations Document"/>
          <xsd:enumeration value="OJ - Agenda"/>
          <xsd:enumeration value="PG - Progress Report / Status Report"/>
          <xsd:enumeration value="PL - Plan"/>
          <xsd:enumeration value="PO - Proposal"/>
          <xsd:enumeration value="POL - Policy Document"/>
          <xsd:enumeration value="PR - Procedure"/>
          <xsd:enumeration value="PT - Product Tree"/>
          <xsd:enumeration value="RD - Request for Deviation"/>
          <xsd:enumeration value="REC - Record"/>
          <xsd:enumeration value="REG - Regulation"/>
          <xsd:enumeration value="RES - Resolution"/>
          <xsd:enumeration value="RFQ - Request for Quotation"/>
          <xsd:enumeration value="RP - Report (Technical, Budget, Cost, Manpower, Travel, Audit, etc.)"/>
          <xsd:enumeration value="RS - Requirement Document / Specification (System, Subsystem, Unit, Equipment level)"/>
          <xsd:enumeration value="RW - Request for Waiver"/>
          <xsd:enumeration value="SC - Schedule / Network / Barchart / Chart"/>
          <xsd:enumeration value="SLA - Service Level Agreement"/>
          <xsd:enumeration value="SOW - Statement of Work"/>
          <xsd:enumeration value="SP - Specifications"/>
          <xsd:enumeration value="ST - Standards"/>
          <xsd:enumeration value="TC - Tender Conditions"/>
          <xsd:enumeration value="TN - Technical Note"/>
          <xsd:enumeration value="TOR - Terms of Reference"/>
          <xsd:enumeration value="TP - Test Procedure/Test Plan"/>
          <xsd:enumeration value="TR - Test Report / Test Result"/>
          <xsd:enumeration value="TS - Test Specification"/>
          <xsd:enumeration value="VC - Verification Control Document"/>
          <xsd:enumeration value="WBS - Work Breakdown Structure"/>
          <xsd:enumeration value="WI - Work Instruction"/>
          <xsd:enumeration value="WP - Working Paper"/>
          <xsd:enumeration value="WPD - Work Package Description"/>
          <xsd:enumeration value="AD"/>
          <xsd:enumeration value="AN"/>
          <xsd:enumeration value="AO"/>
          <xsd:enumeration value="AR"/>
          <xsd:enumeration value="BR"/>
          <xsd:enumeration value="CE"/>
          <xsd:enumeration value="CCN"/>
          <xsd:enumeration value="CO"/>
          <xsd:enumeration value="CP"/>
          <xsd:enumeration value="CR"/>
          <xsd:enumeration value="CT"/>
          <xsd:enumeration value="DEC"/>
          <xsd:enumeration value="DCR"/>
          <xsd:enumeration value="DD"/>
          <xsd:enumeration value="DN"/>
          <xsd:enumeration value="DP"/>
          <xsd:enumeration value="DRD"/>
          <xsd:enumeration value="DW"/>
          <xsd:enumeration value="EM"/>
          <xsd:enumeration value="EX"/>
          <xsd:enumeration value="FI"/>
          <xsd:enumeration value="FAX"/>
          <xsd:enumeration value="HO"/>
          <xsd:enumeration value="IF"/>
          <xsd:enumeration value="INS"/>
          <xsd:enumeration value="ITT"/>
          <xsd:enumeration value="LB"/>
          <xsd:enumeration value="LE"/>
          <xsd:enumeration value="LEG"/>
          <xsd:enumeration value="LI"/>
          <xsd:enumeration value="MAN"/>
          <xsd:enumeration value="ML"/>
          <xsd:enumeration value="MIN"/>
          <xsd:enumeration value="MO"/>
          <xsd:enumeration value="MOU"/>
          <xsd:enumeration value="MX"/>
          <xsd:enumeration value="NC"/>
          <xsd:enumeration value="NDA"/>
          <xsd:enumeration value="OD"/>
          <xsd:enumeration value="OJ"/>
          <xsd:enumeration value="POL"/>
          <xsd:enumeration value="PG"/>
          <xsd:enumeration value="PL"/>
          <xsd:enumeration value="PO"/>
          <xsd:enumeration value="PR"/>
          <xsd:enumeration value="PT"/>
          <xsd:enumeration value="REG"/>
          <xsd:enumeration value="RD"/>
          <xsd:enumeration value="REC"/>
          <xsd:enumeration value="RP"/>
          <xsd:enumeration value="RFQ"/>
          <xsd:enumeration value="RS"/>
          <xsd:enumeration value="RW"/>
          <xsd:enumeration value="RES"/>
          <xsd:enumeration value="SC"/>
          <xsd:enumeration value="SLA"/>
          <xsd:enumeration value="SP"/>
          <xsd:enumeration value="ST"/>
          <xsd:enumeration value="SOW"/>
          <xsd:enumeration value="TC"/>
          <xsd:enumeration value="TOR"/>
          <xsd:enumeration value="TN"/>
          <xsd:enumeration value="TP"/>
          <xsd:enumeration value="TR"/>
          <xsd:enumeration value="TS"/>
          <xsd:enumeration value="VC"/>
          <xsd:enumeration value="WBS"/>
          <xsd:enumeration value="WI"/>
          <xsd:enumeration value="WP"/>
          <xsd:enumeration value="WPD"/>
        </xsd:restriction>
      </xsd:simpleType>
    </xsd:element>
    <xsd:element name="Reference" ma:index="3" nillable="true" ma:displayName="Reference" ma:internalName="Reference">
      <xsd:simpleType>
        <xsd:restriction base="dms:Text">
          <xsd:maxLength value="255"/>
        </xsd:restriction>
      </xsd:simpleType>
    </xsd:element>
    <xsd:element name="Assign_x0020_document_x0020_reference" ma:index="4" nillable="true" ma:displayName="Assign document reference" ma:default="0" ma:internalName="Assign_x0020_document_x0020_reference">
      <xsd:simpleType>
        <xsd:restriction base="dms:Boolean"/>
      </xsd:simpleType>
    </xsd:element>
    <xsd:element name="Classification" ma:index="6" nillable="true" ma:displayName="Classification" ma:format="Dropdown" ma:internalName="Classification" ma:readOnly="false">
      <xsd:simpleType>
        <xsd:restriction base="dms:Choice">
          <xsd:enumeration value="ESA UNCLASSIFIED – Releasable to the Public"/>
          <xsd:enumeration value="ESA UNCLASSIFIED – For ESA Official Use Only"/>
          <xsd:enumeration value="ESA UNCLASSIFIED – Limited Distribution"/>
          <xsd:enumeration value="ESA UNCLASSIFIED – Sensitive Personal Data"/>
          <xsd:enumeration value="ESA UNCLASSIFIED - For Official Use"/>
          <xsd:enumeration value="ESA UNCLASSIFIED - For Internal Use"/>
          <xsd:enumeration value="ESA UNCLASSIFIED - Proprietary Information"/>
          <xsd:enumeration value="ESA UNCLASSIFIED - Personnel in Confidence"/>
          <xsd:enumeration value="ESA UNCLASSIFIED - Medical in Confidence"/>
          <xsd:enumeration value="ESA UNCLASSIFIED ITT - For Internal Use - Limited Distribution"/>
          <xsd:enumeration value="ESA UNCLASSIFIED TEB - For Internal Use - Limited Distribution"/>
          <xsd:enumeration value="ESA UNCLASSIFIED - Proprietary Information - Limited Distribution"/>
          <xsd:enumeration value="ESA Unclassified – For Official Use – Privileged – OBSOLETE"/>
          <xsd:enumeration value="ESA Unclassified – For Internal Use – Privileged – OBSOLETE"/>
          <xsd:enumeration value="ESA Unclassified – Proprietary Information – Privileged – OBSOLETE"/>
          <xsd:enumeration value="Non-ESA document"/>
          <xsd:enumeration value="Non-ESA document - Proprietary Information"/>
          <xsd:enumeration value="ESA Restricted – OBSOLETE"/>
          <xsd:enumeration value="ESA Confidential – OBSOLETE"/>
          <xsd:enumeration value="ESA Secret – OBSOLETE"/>
        </xsd:restriction>
      </xsd:simpleType>
    </xsd:element>
    <xsd:element name="Classification_x0020_Caveat" ma:index="7" nillable="true" ma:displayName="Classification Caveat" ma:description="Please use this field only in case of documents classified as &quot;For Internal Use&quot; and &quot;Proprietary Information&quot;" ma:internalName="Classification_x0020_Caveat">
      <xsd:simpleType>
        <xsd:restriction base="dms:Text">
          <xsd:maxLength value="255"/>
        </xsd:restriction>
      </xsd:simpleType>
    </xsd:element>
    <xsd:element name="Issue_x0020_Date" ma:index="8" nillable="true" ma:displayName="Issue Date" ma:format="DateOnly" ma:internalName="Issue_x0020_Date">
      <xsd:simpleType>
        <xsd:restriction base="dms:DateTime"/>
      </xsd:simpleType>
    </xsd:element>
    <xsd:element name="Issue" ma:index="9" nillable="true" ma:displayName="Issue" ma:internalName="Issue">
      <xsd:simpleType>
        <xsd:restriction base="dms:Text">
          <xsd:maxLength value="4"/>
        </xsd:restriction>
      </xsd:simpleType>
    </xsd:element>
    <xsd:element name="Distribution" ma:index="12" nillable="true" ma:displayName="Distribution" ma:internalName="Distribution">
      <xsd:simpleType>
        <xsd:restriction base="dms:Text">
          <xsd:maxLength value="255"/>
        </xsd:restriction>
      </xsd:simpleType>
    </xsd:element>
    <xsd:element name="Organisational_x0020_entity" ma:index="13" nillable="true" ma:displayName="Organisational entity" ma:internalName="Organisational_x0020_entity">
      <xsd:simpleType>
        <xsd:restriction base="dms:Text">
          <xsd:maxLength value="255"/>
        </xsd:restriction>
      </xsd:simpleType>
    </xsd:element>
    <xsd:element name="_dlc_DocId" ma:index="2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In_iShare" ma:index="25" nillable="true" ma:displayName="In_iShare" ma:default="0" ma:internalName="In_iShare">
      <xsd:simpleType>
        <xsd:restriction base="dms:Boolean"/>
      </xsd:simpleType>
    </xsd:element>
    <xsd:element name="AutoSync" ma:index="26" nillable="true" ma:displayName="AutoSync" ma:default="0" ma:internalName="AutoSync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Revision" ma:index="10" nillable="true" ma:displayName="Revision" ma:internalName="Revision">
      <xsd:simpleType>
        <xsd:restriction base="dms:Text">
          <xsd:maxLength value="4"/>
        </xsd:restriction>
      </xsd:simpleType>
    </xsd:element>
    <xsd:element name="Status" ma:index="11" nillable="true" ma:displayName="Status" ma:format="Dropdown" ma:internalName="Status">
      <xsd:simpleType>
        <xsd:restriction base="dms:Choice">
          <xsd:enumeration value="N/A"/>
          <xsd:enumeration value="For Information Only"/>
          <xsd:enumeration value="Draft"/>
          <xsd:enumeration value="Under Review"/>
          <xsd:enumeration value="Approved"/>
          <xsd:enumeration value="ESA Approved"/>
          <xsd:enumeration value="Issued"/>
          <xsd:enumeration value="Rejected"/>
          <xsd:enumeration value="Withdrawn"/>
          <xsd:enumeration value="Supersed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7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5" ma:displayName="Author"/>
        <xsd:element ref="dcterms:created" minOccurs="0" maxOccurs="1"/>
        <xsd:element ref="dc:identifier" minOccurs="0" maxOccurs="1"/>
        <xsd:element name="contentType" minOccurs="0" maxOccurs="1" type="xsd:string" ma:index="17" ma:displayName="Content Type"/>
        <xsd:element ref="dc:title" minOccurs="0" maxOccurs="1" ma:index="1" ma:displayName="Title"/>
        <xsd:element ref="dc:subject" minOccurs="0" maxOccurs="1"/>
        <xsd:element ref="dc:description" minOccurs="0" maxOccurs="1" ma:index="15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istribution xmlns="ddc99d1b-0883-4f2c-a8e6-6d8ebaa0e5d6" xsi:nil="true"/>
    <Organisational_x0020_entity xmlns="ddc99d1b-0883-4f2c-a8e6-6d8ebaa0e5d6" xsi:nil="true"/>
    <Document_x0020_Type xmlns="ddc99d1b-0883-4f2c-a8e6-6d8ebaa0e5d6">HO - Handout / Presentation</Document_x0020_Type>
    <Revision xmlns="http://schemas.microsoft.com/sharepoint/v3/fields">0</Revision>
    <IconOverlay xmlns="http://schemas.microsoft.com/sharepoint/v4" xsi:nil="true"/>
    <In_iShare xmlns="ddc99d1b-0883-4f2c-a8e6-6d8ebaa0e5d6">false</In_iShare>
    <Classification xmlns="ddc99d1b-0883-4f2c-a8e6-6d8ebaa0e5d6">ESA UNCLASSIFIED – For ESA Official Use Only</Classification>
    <Issue_x0020_Date xmlns="ddc99d1b-0883-4f2c-a8e6-6d8ebaa0e5d6">2023-10-10T22:00:00+00:00</Issue_x0020_Date>
    <Issue xmlns="ddc99d1b-0883-4f2c-a8e6-6d8ebaa0e5d6">0</Issue>
    <Reference xmlns="ddc99d1b-0883-4f2c-a8e6-6d8ebaa0e5d6" xsi:nil="true"/>
    <Assign_x0020_document_x0020_reference xmlns="ddc99d1b-0883-4f2c-a8e6-6d8ebaa0e5d6">false</Assign_x0020_document_x0020_reference>
    <Classification_x0020_Caveat xmlns="ddc99d1b-0883-4f2c-a8e6-6d8ebaa0e5d6" xsi:nil="true"/>
    <AutoSync xmlns="ddc99d1b-0883-4f2c-a8e6-6d8ebaa0e5d6">false</AutoSync>
    <Status xmlns="http://schemas.microsoft.com/sharepoint/v3/fields">N/A</Status>
    <_dlc_DocId xmlns="ddc99d1b-0883-4f2c-a8e6-6d8ebaa0e5d6">PKKMWAM5UKCP-1108600927-1303</_dlc_DocId>
    <_dlc_DocIdUrl xmlns="ddc99d1b-0883-4f2c-a8e6-6d8ebaa0e5d6">
      <Url>https://esateamsite.sso.esa.int/support/EOT2018/_layouts/15/DocIdRedir.aspx?ID=PKKMWAM5UKCP-1108600927-1303</Url>
      <Description>PKKMWAM5UKCP-1108600927-1303</Description>
    </_dlc_DocIdUrl>
  </documentManagement>
</p:properties>
</file>

<file path=customXml/itemProps1.xml><?xml version="1.0" encoding="utf-8"?>
<ds:datastoreItem xmlns:ds="http://schemas.openxmlformats.org/officeDocument/2006/customXml" ds:itemID="{548D79E0-F545-4A75-B39D-7B8AF1D9BA8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2B14A63-63A1-4694-A9CB-C52F3967F03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2253E4B-BB15-4AC1-82DB-CDDE390D8876}">
  <ds:schemaRefs>
    <ds:schemaRef ds:uri="ddc99d1b-0883-4f2c-a8e6-6d8ebaa0e5d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/fields"/>
    <ds:schemaRef ds:uri="http://schemas.microsoft.com/sharepoint/v4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8E22279E-2C4C-4C93-8498-455A58D1433E}">
  <ds:schemaRefs>
    <ds:schemaRef ds:uri="ddc99d1b-0883-4f2c-a8e6-6d8ebaa0e5d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/fields"/>
    <ds:schemaRef ds:uri="http://schemas.microsoft.com/sharepoint/v4"/>
    <ds:schemaRef ds:uri="http://schemas.openxmlformats.org/package/2006/metadata/core-propertie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976fa30-1907-4356-8241-62ea5e1c0256}" enabled="1" method="Standard" siteId="{9a5cacd0-2bef-4dd7-ac5c-7ebe1f54f49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0_ESA_Presentation</Template>
  <Application>Microsoft Office PowerPoint</Application>
  <PresentationFormat>Custom</PresentationFormat>
  <Slides>13</Slides>
  <Notes>9</Notes>
  <HiddenSlides>0</HiddenSlide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ESA_Presentation_DARK</vt:lpstr>
      <vt:lpstr>ESA_Presentation_DARK_BG</vt:lpstr>
      <vt:lpstr>ESA_Presentation_CLEAR</vt:lpstr>
      <vt:lpstr>ESA_Presentation_CLEAR_BG</vt:lpstr>
      <vt:lpstr>PowerPoint Presentation</vt:lpstr>
      <vt:lpstr>Overview</vt:lpstr>
      <vt:lpstr>Data Access (3 steps)</vt:lpstr>
      <vt:lpstr>Earth Online (earth.esa.int)</vt:lpstr>
      <vt:lpstr>Data Catalogues</vt:lpstr>
      <vt:lpstr>Missions portfolio</vt:lpstr>
      <vt:lpstr>Current ESA EO Ground Segment Architecture</vt:lpstr>
      <vt:lpstr>DRIVERS for the EO GROUND SEGMENT EVOLUTION</vt:lpstr>
      <vt:lpstr>Demonstrators - Major guidelines</vt:lpstr>
      <vt:lpstr>Demonstrators – Status Overview</vt:lpstr>
      <vt:lpstr>Items Deliveries and Associated Improvements</vt:lpstr>
      <vt:lpstr>ASCEND Services</vt:lpstr>
      <vt:lpstr>GS EVOLUTION HIGH LEVEL ROADMAP</vt:lpstr>
    </vt:vector>
  </TitlesOfParts>
  <Manager/>
  <Company>ESA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A Earth Observation Data Access - a way to come</dc:title>
  <dc:subject>ESA Earth Observation Data Access - a way to come</dc:subject>
  <dc:creator>Damiano Guerrucci, Mattia Stipa, Roberto Alacevich</dc:creator>
  <cp:keywords/>
  <dc:description/>
  <cp:revision>1</cp:revision>
  <cp:lastPrinted>2008-08-26T16:26:23Z</cp:lastPrinted>
  <dcterms:created xsi:type="dcterms:W3CDTF">2023-10-11T09:57:26Z</dcterms:created>
  <dcterms:modified xsi:type="dcterms:W3CDTF">2023-10-25T07:29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Title">
    <vt:lpwstr>TITLE OF PRESENTATION</vt:lpwstr>
  </property>
  <property fmtid="{D5CDD505-2E9C-101B-9397-08002B2CF9AE}" pid="3" name="PSubtitle">
    <vt:lpwstr>TITLE OF PRESENTATION</vt:lpwstr>
  </property>
  <property fmtid="{D5CDD505-2E9C-101B-9397-08002B2CF9AE}" pid="4" name="PAuthor">
    <vt:lpwstr>Damiano Guerrucci, Mattia Stipa, Roberto Alacevich</vt:lpwstr>
  </property>
  <property fmtid="{D5CDD505-2E9C-101B-9397-08002B2CF9AE}" pid="5" name="PPlace">
    <vt:lpwstr/>
  </property>
  <property fmtid="{D5CDD505-2E9C-101B-9397-08002B2CF9AE}" pid="6" name="PDate">
    <vt:lpwstr>DD/MM/YYYY</vt:lpwstr>
  </property>
  <property fmtid="{D5CDD505-2E9C-101B-9397-08002B2CF9AE}" pid="7" name="PProgramme">
    <vt:lpwstr/>
  </property>
  <property fmtid="{D5CDD505-2E9C-101B-9397-08002B2CF9AE}" pid="8" name="PEmail">
    <vt:lpwstr/>
  </property>
  <property fmtid="{D5CDD505-2E9C-101B-9397-08002B2CF9AE}" pid="9" name="PClassification">
    <vt:lpwstr>ESA UNCLASSIFIED – For Official Use</vt:lpwstr>
  </property>
  <property fmtid="{D5CDD505-2E9C-101B-9397-08002B2CF9AE}" pid="10" name="POptionButton1">
    <vt:bool>true</vt:bool>
  </property>
  <property fmtid="{D5CDD505-2E9C-101B-9397-08002B2CF9AE}" pid="11" name="POptionButton2">
    <vt:bool>false</vt:bool>
  </property>
  <property fmtid="{D5CDD505-2E9C-101B-9397-08002B2CF9AE}" pid="12" name="ESAVersion">
    <vt:lpwstr>5GV2.0</vt:lpwstr>
  </property>
  <property fmtid="{D5CDD505-2E9C-101B-9397-08002B2CF9AE}" pid="13" name="ShowESADialog1">
    <vt:bool>true</vt:bool>
  </property>
  <property fmtid="{D5CDD505-2E9C-101B-9397-08002B2CF9AE}" pid="14" name="ContentTypeId">
    <vt:lpwstr>0x010100B93108F87DD4F24BAE6D0E809C37974D000FC206F40FA8F44792B0B25BFFF4A9D0</vt:lpwstr>
  </property>
  <property fmtid="{D5CDD505-2E9C-101B-9397-08002B2CF9AE}" pid="15" name="Document Type">
    <vt:lpwstr>HO - Handout / Presentation</vt:lpwstr>
  </property>
  <property fmtid="{D5CDD505-2E9C-101B-9397-08002B2CF9AE}" pid="16" name="Reference">
    <vt:lpwstr/>
  </property>
  <property fmtid="{D5CDD505-2E9C-101B-9397-08002B2CF9AE}" pid="17" name="Classification">
    <vt:lpwstr>ESA UNCLASSIFIED – For ESA Official Use Only</vt:lpwstr>
  </property>
  <property fmtid="{D5CDD505-2E9C-101B-9397-08002B2CF9AE}" pid="18" name="Classification Caveat">
    <vt:lpwstr/>
  </property>
  <property fmtid="{D5CDD505-2E9C-101B-9397-08002B2CF9AE}" pid="19" name="Status">
    <vt:lpwstr>N/A</vt:lpwstr>
  </property>
  <property fmtid="{D5CDD505-2E9C-101B-9397-08002B2CF9AE}" pid="20" name="bmsSiteName">
    <vt:lpwstr/>
  </property>
  <property fmtid="{D5CDD505-2E9C-101B-9397-08002B2CF9AE}" pid="21" name="Originating Organisation">
    <vt:lpwstr/>
  </property>
  <property fmtid="{D5CDD505-2E9C-101B-9397-08002B2CF9AE}" pid="22" name="Distribution">
    <vt:lpwstr/>
  </property>
  <property fmtid="{D5CDD505-2E9C-101B-9397-08002B2CF9AE}" pid="23" name="bmsSitename2">
    <vt:lpwstr/>
  </property>
  <property fmtid="{D5CDD505-2E9C-101B-9397-08002B2CF9AE}" pid="24" name="bmsAddress">
    <vt:lpwstr/>
  </property>
  <property fmtid="{D5CDD505-2E9C-101B-9397-08002B2CF9AE}" pid="25" name="bmsPlace">
    <vt:lpwstr/>
  </property>
  <property fmtid="{D5CDD505-2E9C-101B-9397-08002B2CF9AE}" pid="26" name="bmsPhoneFax">
    <vt:lpwstr/>
  </property>
  <property fmtid="{D5CDD505-2E9C-101B-9397-08002B2CF9AE}" pid="27" name="Issue">
    <vt:i4>0</vt:i4>
  </property>
  <property fmtid="{D5CDD505-2E9C-101B-9397-08002B2CF9AE}" pid="28" name="Revision">
    <vt:i4>0</vt:i4>
  </property>
  <property fmtid="{D5CDD505-2E9C-101B-9397-08002B2CF9AE}" pid="29" name="Issue Date">
    <vt:filetime>2023-10-10T22:00:00Z</vt:filetime>
  </property>
  <property fmtid="{D5CDD505-2E9C-101B-9397-08002B2CF9AE}" pid="30" name="Organisational_x0020_entity">
    <vt:lpwstr/>
  </property>
  <property fmtid="{D5CDD505-2E9C-101B-9397-08002B2CF9AE}" pid="31" name="_dlc_DocIdItemGuid">
    <vt:lpwstr>5f0bab48-4ce0-4eab-83cc-d71b5b88219f</vt:lpwstr>
  </property>
  <property fmtid="{D5CDD505-2E9C-101B-9397-08002B2CF9AE}" pid="32" name="Organisational entity">
    <vt:lpwstr/>
  </property>
  <property fmtid="{D5CDD505-2E9C-101B-9397-08002B2CF9AE}" pid="33" name="IconOverlay">
    <vt:lpwstr/>
  </property>
  <property fmtid="{D5CDD505-2E9C-101B-9397-08002B2CF9AE}" pid="34" name="Document ID Value">
    <vt:lpwstr>PKKMWAM5UKCP-1108600927-1303</vt:lpwstr>
  </property>
  <property fmtid="{D5CDD505-2E9C-101B-9397-08002B2CF9AE}" pid="35" name="MSIP_Label_3976fa30-1907-4356-8241-62ea5e1c0256_Enabled">
    <vt:lpwstr>true</vt:lpwstr>
  </property>
  <property fmtid="{D5CDD505-2E9C-101B-9397-08002B2CF9AE}" pid="36" name="MSIP_Label_3976fa30-1907-4356-8241-62ea5e1c0256_SetDate">
    <vt:lpwstr>2020-09-30T12:03:24Z</vt:lpwstr>
  </property>
  <property fmtid="{D5CDD505-2E9C-101B-9397-08002B2CF9AE}" pid="37" name="MSIP_Label_3976fa30-1907-4356-8241-62ea5e1c0256_Method">
    <vt:lpwstr>Standard</vt:lpwstr>
  </property>
  <property fmtid="{D5CDD505-2E9C-101B-9397-08002B2CF9AE}" pid="38" name="MSIP_Label_3976fa30-1907-4356-8241-62ea5e1c0256_Name">
    <vt:lpwstr>ESA UNCLASSIFIED – For ESA Official Use Only</vt:lpwstr>
  </property>
  <property fmtid="{D5CDD505-2E9C-101B-9397-08002B2CF9AE}" pid="39" name="MSIP_Label_3976fa30-1907-4356-8241-62ea5e1c0256_SiteId">
    <vt:lpwstr>9a5cacd0-2bef-4dd7-ac5c-7ebe1f54f495</vt:lpwstr>
  </property>
  <property fmtid="{D5CDD505-2E9C-101B-9397-08002B2CF9AE}" pid="40" name="MSIP_Label_3976fa30-1907-4356-8241-62ea5e1c0256_ActionId">
    <vt:lpwstr>12cffb5a-e4fd-4993-a937-3b8906224a24</vt:lpwstr>
  </property>
  <property fmtid="{D5CDD505-2E9C-101B-9397-08002B2CF9AE}" pid="41" name="MSIP_Label_3976fa30-1907-4356-8241-62ea5e1c0256_ContentBits">
    <vt:lpwstr>0</vt:lpwstr>
  </property>
</Properties>
</file>